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application/vnd.openxmlformats-package.relationships+xml" Extension="rels"/>
  <Default ContentType="application/vnd.openxmlformats-officedocument.vmlDrawing" Extension="vml"/>
  <Default ContentType="application/xml" Extension="xml"/>
  <Override ContentType="application/vnd.openxmlformats-officedocument.extended-properties+xml" PartName="/docProps/app.xml"/>
  <Override ContentType="application/vnd.openxmlformats-officedocument.presentationml.notesMaster+xml" PartName="/ppt/notesMasters/notesMaster1.xml"/>
  <Override ContentType="application/vnd.openxmlformats-officedocument.presentationml.presProps+xml" PartName="/ppt/presProps.xml"/>
  <Override ContentType="application/vnd.openxmlformats-officedocument.presentationml.presentation.main+xml" PartName="/ppt/presentation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Master+xml" PartName="/ppt/slideMasters/slideMaster1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viewProps+xml" PartName="/ppt/viewProps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package.core-properties+xml" PartName="/docProps/core.xml"/>
</Types>
</file>

<file path=_rels/.rels><?xml version="1.0" encoding="UTF-8" standalone="yes"?><Relationships xmlns="http://schemas.openxmlformats.org/package/2006/relationships"><Relationship Id="rId4" Target="ppt/presentation.xml" Type="http://schemas.openxmlformats.org/officeDocument/2006/relationships/officeDocument"/><Relationship Id="rId3" Target="docProps/core.xml" Type="http://schemas.openxmlformats.org/package/2006/relationships/metadata/core-properties"/><Relationship Id="rId2" Target="docProps/app.xml" Type="http://schemas.openxmlformats.org/officeDocument/2006/relationships/extended-properties"/><Relationship Id="rId1" Target="docProps/thumbnail.jpeg" Type="http://schemas.openxmlformats.org/package/2006/relationships/metadata/thumbnai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9" r:id="rId5"/>
  </p:sldMasterIdLst>
  <p:notesMasterIdLst>
    <p:notesMasterId r:id="rId6"/>
  </p:notesMasterIdLst>
  <p:sldIdLst>
    <p:sldId id="256" r:id="rId7"/>
    <p:sldId id="257" r:id="rId8"/>
  </p:sldIdLst>
  <p:sldSz cx="9144000" cy="6858000" type="screen4x3"/>
  <p:notesSz cx="6858000" cy="9144000"/>
  <p:custDataLst>
    <p:tags r:id="rId9"/>
  </p:custDataLst>
  <p:defaultTextStyle>
    <a:defPPr>
      <a:defRPr lang="en-US"/>
    </a:defPPr>
    <a:lvl1pPr algn="l" defTabSz="914400" eaLnBrk="1" hangingPunct="1" latinLnBrk="0" marL="0" rtl="0">
      <a:defRPr kern="1200" sz="1800">
        <a:solidFill>
          <a:schemeClr val="tx1"/>
        </a:solidFill>
        <a:latin typeface="+mn-lt"/>
        <a:ea typeface="+mn-ea"/>
        <a:cs typeface="+mn-cs"/>
      </a:defRPr>
    </a:lvl1pPr>
    <a:lvl2pPr algn="l" defTabSz="914400" eaLnBrk="1" hangingPunct="1" latinLnBrk="0" marL="457200" rtl="0">
      <a:defRPr kern="1200" sz="1800">
        <a:solidFill>
          <a:schemeClr val="tx1"/>
        </a:solidFill>
        <a:latin typeface="+mn-lt"/>
        <a:ea typeface="+mn-ea"/>
        <a:cs typeface="+mn-cs"/>
      </a:defRPr>
    </a:lvl2pPr>
    <a:lvl3pPr algn="l" defTabSz="914400" eaLnBrk="1" hangingPunct="1" latinLnBrk="0" marL="914400" rtl="0">
      <a:defRPr kern="1200" sz="1800">
        <a:solidFill>
          <a:schemeClr val="tx1"/>
        </a:solidFill>
        <a:latin typeface="+mn-lt"/>
        <a:ea typeface="+mn-ea"/>
        <a:cs typeface="+mn-cs"/>
      </a:defRPr>
    </a:lvl3pPr>
    <a:lvl4pPr algn="l" defTabSz="914400" eaLnBrk="1" hangingPunct="1" latinLnBrk="0" marL="1371600" rtl="0">
      <a:defRPr kern="1200" sz="1800">
        <a:solidFill>
          <a:schemeClr val="tx1"/>
        </a:solidFill>
        <a:latin typeface="+mn-lt"/>
        <a:ea typeface="+mn-ea"/>
        <a:cs typeface="+mn-cs"/>
      </a:defRPr>
    </a:lvl4pPr>
    <a:lvl5pPr algn="l" defTabSz="914400" eaLnBrk="1" hangingPunct="1" latinLnBrk="0" marL="1828800" rtl="0">
      <a:defRPr kern="1200" sz="1800">
        <a:solidFill>
          <a:schemeClr val="tx1"/>
        </a:solidFill>
        <a:latin typeface="+mn-lt"/>
        <a:ea typeface="+mn-ea"/>
        <a:cs typeface="+mn-cs"/>
      </a:defRPr>
    </a:lvl5pPr>
    <a:lvl6pPr algn="l" defTabSz="914400" eaLnBrk="1" hangingPunct="1" latinLnBrk="0" marL="2286000" rtl="0">
      <a:defRPr kern="1200" sz="1800">
        <a:solidFill>
          <a:schemeClr val="tx1"/>
        </a:solidFill>
        <a:latin typeface="+mn-lt"/>
        <a:ea typeface="+mn-ea"/>
        <a:cs typeface="+mn-cs"/>
      </a:defRPr>
    </a:lvl6pPr>
    <a:lvl7pPr algn="l" defTabSz="914400" eaLnBrk="1" hangingPunct="1" latinLnBrk="0" marL="2743200" rtl="0">
      <a:defRPr kern="1200" sz="1800">
        <a:solidFill>
          <a:schemeClr val="tx1"/>
        </a:solidFill>
        <a:latin typeface="+mn-lt"/>
        <a:ea typeface="+mn-ea"/>
        <a:cs typeface="+mn-cs"/>
      </a:defRPr>
    </a:lvl7pPr>
    <a:lvl8pPr algn="l" defTabSz="914400" eaLnBrk="1" hangingPunct="1" latinLnBrk="0" marL="3200400" rtl="0">
      <a:defRPr kern="1200" sz="1800">
        <a:solidFill>
          <a:schemeClr val="tx1"/>
        </a:solidFill>
        <a:latin typeface="+mn-lt"/>
        <a:ea typeface="+mn-ea"/>
        <a:cs typeface="+mn-cs"/>
      </a:defRPr>
    </a:lvl8pPr>
    <a:lvl9pPr algn="l" defTabSz="914400" eaLnBrk="1" hangingPunct="1" latinLnBrk="0" marL="3657600" rtl="0">
      <a:defRPr kern="1200"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autoAdjust="0" sz="14995"/>
    <p:restoredTop sz="94660"/>
  </p:normalViewPr>
  <p:slideViewPr>
    <p:cSldViewPr>
      <p:cViewPr varScale="1">
        <p:scale>
          <a:sx d="100" n="59"/>
          <a:sy d="100" n="59"/>
        </p:scale>
        <p:origin x="1042" y="27"/>
      </p:cViewPr>
      <p:guideLst>
        <p:guide orient="horz" pos="2160"/>
        <p:guide pos="2880"/>
      </p:guideLst>
    </p:cSldViewPr>
  </p:slideViewPr>
  <p:notesTextViewPr>
    <p:cViewPr>
      <p:scale>
        <a:sx d="1" n="1"/>
        <a:sy d="1" n="1"/>
      </p:scale>
      <p:origin x="0" y="0"/>
    </p:cViewPr>
  </p:notesTextViewPr>
  <p:sorterViewPr>
    <p:cViewPr>
      <p:scale>
        <a:sx d="100" n="100"/>
        <a:sy d="100" n="100"/>
      </p:scale>
      <p:origin x="0" y="0"/>
    </p:cViewPr>
  </p:sorterViewPr>
  <p:gridSpacing cx="76200" cy="76200"/>
</p:viewPr>
</file>

<file path=ppt/_rels/presentation.xml.rels><?xml version="1.0" encoding="UTF-8" standalone="yes"?><Relationships xmlns="http://schemas.openxmlformats.org/package/2006/relationships"><Relationship Id="rId9" Target="tags/tag1.xml" Type="http://schemas.openxmlformats.org/officeDocument/2006/relationships/tags"/><Relationship Id="rId8" Target="slides/slide2.xml" Type="http://schemas.openxmlformats.org/officeDocument/2006/relationships/slide"/><Relationship Id="rId7" Target="slides/slide1.xml" Type="http://schemas.openxmlformats.org/officeDocument/2006/relationships/slide"/><Relationship Id="rId6" Target="notesMasters/notesMaster1.xml" Type="http://schemas.openxmlformats.org/officeDocument/2006/relationships/notesMaster"/><Relationship Id="rId5" Target="slideMasters/slideMaster1.xml" Type="http://schemas.openxmlformats.org/officeDocument/2006/relationships/slideMaster"/><Relationship Id="rId4" Target="tableStyles.xml" Type="http://schemas.openxmlformats.org/officeDocument/2006/relationships/tableStyles"/><Relationship Id="rId3" Target="presProps.xml" Type="http://schemas.openxmlformats.org/officeDocument/2006/relationships/presProps"/><Relationship Id="rId2" Target="viewProps.xml" Type="http://schemas.openxmlformats.org/officeDocument/2006/relationships/viewProps"/><Relationship Id="rId1" Target="theme/theme1.xml" Type="http://schemas.openxmlformats.org/officeDocument/2006/relationships/theme"/></Relationships>
</file>

<file path=ppt/drawings/_rels/vmlDrawing1.vml.rels><?xml version="1.0" encoding="UTF-8" standalone="yes"?><Relationships xmlns="http://schemas.openxmlformats.org/package/2006/relationships"><Relationship Id="rId1" Target="../media/image1.emf" Type="http://schemas.openxmlformats.org/officeDocument/2006/relationships/image"/></Relationships>
</file>

<file path=ppt/drawings/_rels/vmlDrawing2.vml.rels><?xml version="1.0" encoding="UTF-8" standalone="yes"?><Relationships xmlns="http://schemas.openxmlformats.org/package/2006/relationships"><Relationship Id="rId1" Target="../media/image1.emf" Type="http://schemas.openxmlformats.org/officeDocument/2006/relationships/image"/></Relationships>
</file>

<file path=ppt/drawings/_rels/vmlDrawing3.vml.rels><?xml version="1.0" encoding="UTF-8" standalone="yes"?><Relationships xmlns="http://schemas.openxmlformats.org/package/2006/relationships"><Relationship Id="rId1" Target="../media/image1.emf" Type="http://schemas.openxmlformats.org/officeDocument/2006/relationships/image"/></Relationships>
</file>

<file path=ppt/notesMasters/_rels/notesMaster1.xml.rels><?xml version="1.0" encoding="UTF-8" standalone="yes"?>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sz="quarter" type="hd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bIns="45720" lIns="91440" numCol="1" rIns="91440" rtlCol="0" tIns="45720" vert="horz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idx="1" type="dt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bIns="45720" lIns="91440" numCol="1" rIns="91440" rtlCol="0" tIns="45720" vert="horz"/>
          <a:lstStyle>
            <a:lvl1pPr algn="r">
              <a:defRPr sz="1200"/>
            </a:lvl1pPr>
          </a:lstStyle>
          <a:p>
            <a:fld id="{7CEB82EE-7859-43C3-BD1F-7B4F0DAB0F46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4" name="Slide Image Placeholder 3"/>
          <p:cNvSpPr>
            <a:spLocks noChangeAspect="1" noGrp="1" noRot="1"/>
          </p:cNvSpPr>
          <p:nvPr>
            <p:ph idx="2"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anchor="ctr" bIns="45720" lIns="91440" numCol="1" rIns="91440" rtlCol="0" tIns="45720" vert="horz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idx="3" sz="quarter" type="body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bIns="45720" lIns="91440" numCol="1" rIns="91440" rtlCol="0" tIns="45720" vert="horz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idx="4" sz="quarter" type="ftr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anchor="b" bIns="45720" lIns="91440" numCol="1" rIns="91440" rtlCol="0" tIns="45720" vert="horz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idx="5" sz="quarter" type="sldNum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anchor="b" bIns="45720" lIns="91440" numCol="1" rIns="91440" rtlCol="0" tIns="45720" vert="horz"/>
          <a:lstStyle>
            <a:lvl1pPr algn="r">
              <a:defRPr sz="1200"/>
            </a:lvl1pPr>
          </a:lstStyle>
          <a:p>
            <a:fld id="{5ED5DB85-51F6-4F8B-9C9B-239CB5AE9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191693"/>
      </p:ext>
    </p:extLst>
  </p:cSld>
  <p:clrMap accent1="accent1" accent2="accent2" accent3="accent3" accent4="accent4" accent5="accent5" accent6="accent6" bg1="lt1" bg2="lt2" folHlink="folHlink" hlink="hlink" tx1="dk1" tx2="dk2"/>
  <p:notesStyle>
    <a:lvl1pPr algn="l" defTabSz="914400" eaLnBrk="1" hangingPunct="1" latinLnBrk="0" marL="0" rtl="0">
      <a:defRPr kern="1200" sz="1200">
        <a:solidFill>
          <a:schemeClr val="tx1"/>
        </a:solidFill>
        <a:latin typeface="+mn-lt"/>
        <a:ea typeface="+mn-ea"/>
        <a:cs typeface="+mn-cs"/>
      </a:defRPr>
    </a:lvl1pPr>
    <a:lvl2pPr algn="l" defTabSz="914400" eaLnBrk="1" hangingPunct="1" latinLnBrk="0" marL="457200" rtl="0">
      <a:defRPr kern="1200" sz="1200">
        <a:solidFill>
          <a:schemeClr val="tx1"/>
        </a:solidFill>
        <a:latin typeface="+mn-lt"/>
        <a:ea typeface="+mn-ea"/>
        <a:cs typeface="+mn-cs"/>
      </a:defRPr>
    </a:lvl2pPr>
    <a:lvl3pPr algn="l" defTabSz="914400" eaLnBrk="1" hangingPunct="1" latinLnBrk="0" marL="914400" rtl="0">
      <a:defRPr kern="1200" sz="1200">
        <a:solidFill>
          <a:schemeClr val="tx1"/>
        </a:solidFill>
        <a:latin typeface="+mn-lt"/>
        <a:ea typeface="+mn-ea"/>
        <a:cs typeface="+mn-cs"/>
      </a:defRPr>
    </a:lvl3pPr>
    <a:lvl4pPr algn="l" defTabSz="914400" eaLnBrk="1" hangingPunct="1" latinLnBrk="0" marL="1371600" rtl="0">
      <a:defRPr kern="1200" sz="1200">
        <a:solidFill>
          <a:schemeClr val="tx1"/>
        </a:solidFill>
        <a:latin typeface="+mn-lt"/>
        <a:ea typeface="+mn-ea"/>
        <a:cs typeface="+mn-cs"/>
      </a:defRPr>
    </a:lvl4pPr>
    <a:lvl5pPr algn="l" defTabSz="914400" eaLnBrk="1" hangingPunct="1" latinLnBrk="0" marL="1828800" rtl="0">
      <a:defRPr kern="1200" sz="1200">
        <a:solidFill>
          <a:schemeClr val="tx1"/>
        </a:solidFill>
        <a:latin typeface="+mn-lt"/>
        <a:ea typeface="+mn-ea"/>
        <a:cs typeface="+mn-cs"/>
      </a:defRPr>
    </a:lvl5pPr>
    <a:lvl6pPr algn="l" defTabSz="914400" eaLnBrk="1" hangingPunct="1" latinLnBrk="0" marL="2286000" rtl="0">
      <a:defRPr kern="1200" sz="1200">
        <a:solidFill>
          <a:schemeClr val="tx1"/>
        </a:solidFill>
        <a:latin typeface="+mn-lt"/>
        <a:ea typeface="+mn-ea"/>
        <a:cs typeface="+mn-cs"/>
      </a:defRPr>
    </a:lvl6pPr>
    <a:lvl7pPr algn="l" defTabSz="914400" eaLnBrk="1" hangingPunct="1" latinLnBrk="0" marL="2743200" rtl="0">
      <a:defRPr kern="1200" sz="1200">
        <a:solidFill>
          <a:schemeClr val="tx1"/>
        </a:solidFill>
        <a:latin typeface="+mn-lt"/>
        <a:ea typeface="+mn-ea"/>
        <a:cs typeface="+mn-cs"/>
      </a:defRPr>
    </a:lvl7pPr>
    <a:lvl8pPr algn="l" defTabSz="914400" eaLnBrk="1" hangingPunct="1" latinLnBrk="0" marL="3200400" rtl="0">
      <a:defRPr kern="1200" sz="1200">
        <a:solidFill>
          <a:schemeClr val="tx1"/>
        </a:solidFill>
        <a:latin typeface="+mn-lt"/>
        <a:ea typeface="+mn-ea"/>
        <a:cs typeface="+mn-cs"/>
      </a:defRPr>
    </a:lvl8pPr>
    <a:lvl9pPr algn="l" defTabSz="914400" eaLnBrk="1" hangingPunct="1" latinLnBrk="0" marL="3657600" rtl="0">
      <a:defRPr kern="1200"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0.xml.rels><?xml version="1.0" encoding="UTF-8" standalone="yes"?>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1.xml.rels><?xml version="1.0" encoding="UTF-8" standalone="yes"?>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.xml.rels><?xml version="1.0" encoding="UTF-8" standalone="yes"?>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3.xml.rels><?xml version="1.0" encoding="UTF-8" standalone="yes"?>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4.xml.rels><?xml version="1.0" encoding="UTF-8" standalone="yes"?>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5.xml.rels><?xml version="1.0" encoding="UTF-8" standalone="yes"?>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6.xml.rels><?xml version="1.0" encoding="UTF-8" standalone="yes"?>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7.xml.rels><?xml version="1.0" encoding="UTF-8" standalone="yes"?>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8.xml.rels><?xml version="1.0" encoding="UTF-8" standalone="yes"?>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9.xml.rels><?xml version="1.0" encoding="UTF-8" standalone="yes"?>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 numCol="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idx="1" type="subTitle"/>
          </p:nvPr>
        </p:nvSpPr>
        <p:spPr>
          <a:xfrm>
            <a:off x="1371600" y="3886200"/>
            <a:ext cx="6400800" cy="1752600"/>
          </a:xfrm>
        </p:spPr>
        <p:txBody>
          <a:bodyPr numCol="1"/>
          <a:lstStyle>
            <a:lvl1pPr algn="ctr" indent="0" marL="0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algn="ctr" indent="0" marL="457200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algn="ctr" indent="0" marL="914400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algn="ctr" indent="0" marL="1371600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algn="ctr" indent="0" marL="1828800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algn="ctr" indent="0" marL="2286000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algn="ctr" indent="0" marL="2743200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algn="ctr" indent="0" marL="3200400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algn="ctr" indent="0" marL="3657600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idx="10" sz="half" type="dt"/>
          </p:nvPr>
        </p:nvSpPr>
        <p:spPr/>
        <p:txBody>
          <a:bodyPr numCol="1"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 numCol="1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 numCol="1"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839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type="vertTx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numCol="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idx="1" orient="vert" type="body"/>
          </p:nvPr>
        </p:nvSpPr>
        <p:spPr/>
        <p:txBody>
          <a:bodyPr numCol="1"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idx="10" sz="half" type="dt"/>
          </p:nvPr>
        </p:nvSpPr>
        <p:spPr/>
        <p:txBody>
          <a:bodyPr numCol="1"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 numCol="1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 numCol="1"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01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type="vertTitleAndTx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orient="vert" type="title"/>
          </p:nvPr>
        </p:nvSpPr>
        <p:spPr>
          <a:xfrm>
            <a:off x="6629400" y="274638"/>
            <a:ext cx="2057400" cy="5851525"/>
          </a:xfrm>
        </p:spPr>
        <p:txBody>
          <a:bodyPr numCol="1"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idx="1" orient="vert" type="body"/>
          </p:nvPr>
        </p:nvSpPr>
        <p:spPr>
          <a:xfrm>
            <a:off x="457200" y="274638"/>
            <a:ext cx="6019800" cy="5851525"/>
          </a:xfrm>
        </p:spPr>
        <p:txBody>
          <a:bodyPr numCol="1"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idx="10" sz="half" type="dt"/>
          </p:nvPr>
        </p:nvSpPr>
        <p:spPr/>
        <p:txBody>
          <a:bodyPr numCol="1"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 numCol="1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 numCol="1"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4790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numCol="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idx="10" sz="half" type="dt"/>
          </p:nvPr>
        </p:nvSpPr>
        <p:spPr/>
        <p:txBody>
          <a:bodyPr numCol="1"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 numCol="1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 numCol="1"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285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 numCol="1"/>
          <a:lstStyle>
            <a:lvl1pPr algn="l">
              <a:defRPr b="1" cap="all"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 type="body"/>
          </p:nvPr>
        </p:nvSpPr>
        <p:spPr>
          <a:xfrm>
            <a:off x="722313" y="2906713"/>
            <a:ext cx="7772400" cy="1500187"/>
          </a:xfrm>
        </p:spPr>
        <p:txBody>
          <a:bodyPr anchor="b" numCol="1"/>
          <a:lstStyle>
            <a:lvl1pPr indent="0" marL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indent="0" marL="45720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indent="0" marL="91440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indent="0" marL="137160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indent="0" marL="182880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indent="0" marL="228600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indent="0" marL="274320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indent="0" marL="320040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indent="0" marL="365760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idx="10" sz="half" type="dt"/>
          </p:nvPr>
        </p:nvSpPr>
        <p:spPr/>
        <p:txBody>
          <a:bodyPr numCol="1"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 numCol="1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 numCol="1"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7161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numCol="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sz="half"/>
          </p:nvPr>
        </p:nvSpPr>
        <p:spPr>
          <a:xfrm>
            <a:off x="457200" y="1600200"/>
            <a:ext cx="4038600" cy="4525963"/>
          </a:xfrm>
        </p:spPr>
        <p:txBody>
          <a:bodyPr numCol="1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2" sz="half"/>
          </p:nvPr>
        </p:nvSpPr>
        <p:spPr>
          <a:xfrm>
            <a:off x="4648200" y="1600200"/>
            <a:ext cx="4038600" cy="4525963"/>
          </a:xfrm>
        </p:spPr>
        <p:txBody>
          <a:bodyPr numCol="1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idx="10" sz="half" type="dt"/>
          </p:nvPr>
        </p:nvSpPr>
        <p:spPr/>
        <p:txBody>
          <a:bodyPr numCol="1"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idx="11" sz="quarter" type="ftr"/>
          </p:nvPr>
        </p:nvSpPr>
        <p:spPr/>
        <p:txBody>
          <a:bodyPr numCol="1"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idx="12" sz="quarter" type="sldNum"/>
          </p:nvPr>
        </p:nvSpPr>
        <p:spPr/>
        <p:txBody>
          <a:bodyPr numCol="1"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668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numCol="1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 type="body"/>
          </p:nvPr>
        </p:nvSpPr>
        <p:spPr>
          <a:xfrm>
            <a:off x="457200" y="1535113"/>
            <a:ext cx="4040188" cy="639762"/>
          </a:xfrm>
        </p:spPr>
        <p:txBody>
          <a:bodyPr anchor="b" numCol="1"/>
          <a:lstStyle>
            <a:lvl1pPr indent="0" marL="0">
              <a:buNone/>
              <a:defRPr b="1" sz="2400"/>
            </a:lvl1pPr>
            <a:lvl2pPr indent="0" marL="457200">
              <a:buNone/>
              <a:defRPr b="1" sz="2000"/>
            </a:lvl2pPr>
            <a:lvl3pPr indent="0" marL="914400">
              <a:buNone/>
              <a:defRPr b="1" sz="1800"/>
            </a:lvl3pPr>
            <a:lvl4pPr indent="0" marL="1371600">
              <a:buNone/>
              <a:defRPr b="1" sz="1600"/>
            </a:lvl4pPr>
            <a:lvl5pPr indent="0" marL="1828800">
              <a:buNone/>
              <a:defRPr b="1" sz="1600"/>
            </a:lvl5pPr>
            <a:lvl6pPr indent="0" marL="2286000">
              <a:buNone/>
              <a:defRPr b="1" sz="1600"/>
            </a:lvl6pPr>
            <a:lvl7pPr indent="0" marL="2743200">
              <a:buNone/>
              <a:defRPr b="1" sz="1600"/>
            </a:lvl7pPr>
            <a:lvl8pPr indent="0" marL="3200400">
              <a:buNone/>
              <a:defRPr b="1" sz="1600"/>
            </a:lvl8pPr>
            <a:lvl9pPr indent="0" marL="3657600">
              <a:buNone/>
              <a:defRPr b="1"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2" sz="half"/>
          </p:nvPr>
        </p:nvSpPr>
        <p:spPr>
          <a:xfrm>
            <a:off x="457200" y="2174875"/>
            <a:ext cx="4040188" cy="3951288"/>
          </a:xfrm>
        </p:spPr>
        <p:txBody>
          <a:bodyPr numCol="1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idx="3" sz="quarter" type="body"/>
          </p:nvPr>
        </p:nvSpPr>
        <p:spPr>
          <a:xfrm>
            <a:off x="4645025" y="1535113"/>
            <a:ext cx="4041775" cy="639762"/>
          </a:xfrm>
        </p:spPr>
        <p:txBody>
          <a:bodyPr anchor="b" numCol="1"/>
          <a:lstStyle>
            <a:lvl1pPr indent="0" marL="0">
              <a:buNone/>
              <a:defRPr b="1" sz="2400"/>
            </a:lvl1pPr>
            <a:lvl2pPr indent="0" marL="457200">
              <a:buNone/>
              <a:defRPr b="1" sz="2000"/>
            </a:lvl2pPr>
            <a:lvl3pPr indent="0" marL="914400">
              <a:buNone/>
              <a:defRPr b="1" sz="1800"/>
            </a:lvl3pPr>
            <a:lvl4pPr indent="0" marL="1371600">
              <a:buNone/>
              <a:defRPr b="1" sz="1600"/>
            </a:lvl4pPr>
            <a:lvl5pPr indent="0" marL="1828800">
              <a:buNone/>
              <a:defRPr b="1" sz="1600"/>
            </a:lvl5pPr>
            <a:lvl6pPr indent="0" marL="2286000">
              <a:buNone/>
              <a:defRPr b="1" sz="1600"/>
            </a:lvl6pPr>
            <a:lvl7pPr indent="0" marL="2743200">
              <a:buNone/>
              <a:defRPr b="1" sz="1600"/>
            </a:lvl7pPr>
            <a:lvl8pPr indent="0" marL="3200400">
              <a:buNone/>
              <a:defRPr b="1" sz="1600"/>
            </a:lvl8pPr>
            <a:lvl9pPr indent="0" marL="3657600">
              <a:buNone/>
              <a:defRPr b="1"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4" sz="quarter"/>
          </p:nvPr>
        </p:nvSpPr>
        <p:spPr>
          <a:xfrm>
            <a:off x="4645025" y="2174875"/>
            <a:ext cx="4041775" cy="3951288"/>
          </a:xfrm>
        </p:spPr>
        <p:txBody>
          <a:bodyPr numCol="1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idx="10" sz="half" type="dt"/>
          </p:nvPr>
        </p:nvSpPr>
        <p:spPr/>
        <p:txBody>
          <a:bodyPr numCol="1"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idx="11" sz="quarter" type="ftr"/>
          </p:nvPr>
        </p:nvSpPr>
        <p:spPr/>
        <p:txBody>
          <a:bodyPr numCol="1"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idx="12" sz="quarter" type="sldNum"/>
          </p:nvPr>
        </p:nvSpPr>
        <p:spPr/>
        <p:txBody>
          <a:bodyPr numCol="1"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7290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numCol="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idx="10" sz="half" type="dt"/>
          </p:nvPr>
        </p:nvSpPr>
        <p:spPr/>
        <p:txBody>
          <a:bodyPr numCol="1"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idx="11" sz="quarter" type="ftr"/>
          </p:nvPr>
        </p:nvSpPr>
        <p:spPr/>
        <p:txBody>
          <a:bodyPr numCol="1"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idx="12" sz="quarter" type="sldNum"/>
          </p:nvPr>
        </p:nvSpPr>
        <p:spPr/>
        <p:txBody>
          <a:bodyPr numCol="1"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947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idx="10" sz="half" type="dt"/>
          </p:nvPr>
        </p:nvSpPr>
        <p:spPr/>
        <p:txBody>
          <a:bodyPr numCol="1"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idx="11" sz="quarter" type="ftr"/>
          </p:nvPr>
        </p:nvSpPr>
        <p:spPr/>
        <p:txBody>
          <a:bodyPr numCol="1"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idx="12" sz="quarter" type="sldNum"/>
          </p:nvPr>
        </p:nvSpPr>
        <p:spPr/>
        <p:txBody>
          <a:bodyPr numCol="1"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188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 numCol="1"/>
          <a:lstStyle>
            <a:lvl1pPr algn="l">
              <a:defRPr b="1"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 numCol="1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idx="2" sz="half" type="body"/>
          </p:nvPr>
        </p:nvSpPr>
        <p:spPr>
          <a:xfrm>
            <a:off x="457200" y="1435100"/>
            <a:ext cx="3008313" cy="4691063"/>
          </a:xfrm>
        </p:spPr>
        <p:txBody>
          <a:bodyPr numCol="1"/>
          <a:lstStyle>
            <a:lvl1pPr indent="0" marL="0">
              <a:buNone/>
              <a:defRPr sz="1400"/>
            </a:lvl1pPr>
            <a:lvl2pPr indent="0" marL="457200">
              <a:buNone/>
              <a:defRPr sz="1200"/>
            </a:lvl2pPr>
            <a:lvl3pPr indent="0" marL="914400">
              <a:buNone/>
              <a:defRPr sz="1000"/>
            </a:lvl3pPr>
            <a:lvl4pPr indent="0" marL="1371600">
              <a:buNone/>
              <a:defRPr sz="900"/>
            </a:lvl4pPr>
            <a:lvl5pPr indent="0" marL="1828800">
              <a:buNone/>
              <a:defRPr sz="900"/>
            </a:lvl5pPr>
            <a:lvl6pPr indent="0" marL="2286000">
              <a:buNone/>
              <a:defRPr sz="900"/>
            </a:lvl6pPr>
            <a:lvl7pPr indent="0" marL="2743200">
              <a:buNone/>
              <a:defRPr sz="900"/>
            </a:lvl7pPr>
            <a:lvl8pPr indent="0" marL="3200400">
              <a:buNone/>
              <a:defRPr sz="900"/>
            </a:lvl8pPr>
            <a:lvl9pPr indent="0" marL="365760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idx="10" sz="half" type="dt"/>
          </p:nvPr>
        </p:nvSpPr>
        <p:spPr/>
        <p:txBody>
          <a:bodyPr numCol="1"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idx="11" sz="quarter" type="ftr"/>
          </p:nvPr>
        </p:nvSpPr>
        <p:spPr/>
        <p:txBody>
          <a:bodyPr numCol="1"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idx="12" sz="quarter" type="sldNum"/>
          </p:nvPr>
        </p:nvSpPr>
        <p:spPr/>
        <p:txBody>
          <a:bodyPr numCol="1"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929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type="pic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 numCol="1"/>
          <a:lstStyle>
            <a:lvl1pPr algn="l">
              <a:defRPr b="1"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idx="1" type="pic"/>
          </p:nvPr>
        </p:nvSpPr>
        <p:spPr>
          <a:xfrm>
            <a:off x="1792288" y="612775"/>
            <a:ext cx="5486400" cy="4114800"/>
          </a:xfrm>
        </p:spPr>
        <p:txBody>
          <a:bodyPr numCol="1"/>
          <a:lstStyle>
            <a:lvl1pPr indent="0" marL="0">
              <a:buNone/>
              <a:defRPr sz="3200"/>
            </a:lvl1pPr>
            <a:lvl2pPr indent="0" marL="457200">
              <a:buNone/>
              <a:defRPr sz="2800"/>
            </a:lvl2pPr>
            <a:lvl3pPr indent="0" marL="914400">
              <a:buNone/>
              <a:defRPr sz="2400"/>
            </a:lvl3pPr>
            <a:lvl4pPr indent="0" marL="1371600">
              <a:buNone/>
              <a:defRPr sz="2000"/>
            </a:lvl4pPr>
            <a:lvl5pPr indent="0" marL="1828800">
              <a:buNone/>
              <a:defRPr sz="2000"/>
            </a:lvl5pPr>
            <a:lvl6pPr indent="0" marL="2286000">
              <a:buNone/>
              <a:defRPr sz="2000"/>
            </a:lvl6pPr>
            <a:lvl7pPr indent="0" marL="2743200">
              <a:buNone/>
              <a:defRPr sz="2000"/>
            </a:lvl7pPr>
            <a:lvl8pPr indent="0" marL="3200400">
              <a:buNone/>
              <a:defRPr sz="2000"/>
            </a:lvl8pPr>
            <a:lvl9pPr indent="0" marL="365760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idx="2" sz="half" type="body"/>
          </p:nvPr>
        </p:nvSpPr>
        <p:spPr>
          <a:xfrm>
            <a:off x="1792288" y="5367338"/>
            <a:ext cx="5486400" cy="804862"/>
          </a:xfrm>
        </p:spPr>
        <p:txBody>
          <a:bodyPr numCol="1"/>
          <a:lstStyle>
            <a:lvl1pPr indent="0" marL="0">
              <a:buNone/>
              <a:defRPr sz="1400"/>
            </a:lvl1pPr>
            <a:lvl2pPr indent="0" marL="457200">
              <a:buNone/>
              <a:defRPr sz="1200"/>
            </a:lvl2pPr>
            <a:lvl3pPr indent="0" marL="914400">
              <a:buNone/>
              <a:defRPr sz="1000"/>
            </a:lvl3pPr>
            <a:lvl4pPr indent="0" marL="1371600">
              <a:buNone/>
              <a:defRPr sz="900"/>
            </a:lvl4pPr>
            <a:lvl5pPr indent="0" marL="1828800">
              <a:buNone/>
              <a:defRPr sz="900"/>
            </a:lvl5pPr>
            <a:lvl6pPr indent="0" marL="2286000">
              <a:buNone/>
              <a:defRPr sz="900"/>
            </a:lvl6pPr>
            <a:lvl7pPr indent="0" marL="2743200">
              <a:buNone/>
              <a:defRPr sz="900"/>
            </a:lvl7pPr>
            <a:lvl8pPr indent="0" marL="3200400">
              <a:buNone/>
              <a:defRPr sz="900"/>
            </a:lvl8pPr>
            <a:lvl9pPr indent="0" marL="365760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idx="10" sz="half" type="dt"/>
          </p:nvPr>
        </p:nvSpPr>
        <p:spPr/>
        <p:txBody>
          <a:bodyPr numCol="1"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idx="11" sz="quarter" type="ftr"/>
          </p:nvPr>
        </p:nvSpPr>
        <p:spPr/>
        <p:txBody>
          <a:bodyPr numCol="1"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idx="12" sz="quarter" type="sldNum"/>
          </p:nvPr>
        </p:nvSpPr>
        <p:spPr/>
        <p:txBody>
          <a:bodyPr numCol="1"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314371"/>
      </p:ext>
    </p:extLst>
  </p:cSld>
  <p:clrMapOvr>
    <a:masterClrMapping/>
  </p:clrMapOvr>
</p:sldLayout>
</file>

<file path=ppt/slideMasters/_rels/slideMaster1.xml.rels><?xml version="1.0" encoding="UTF-8" standalone="yes"?><Relationships xmlns="http://schemas.openxmlformats.org/package/2006/relationships"><Relationship Id="rId19" Target="../slideLayouts/slideLayout10.xml" Type="http://schemas.openxmlformats.org/officeDocument/2006/relationships/slideLayout"/><Relationship Id="rId20" Target="../slideLayouts/slideLayout11.xml" Type="http://schemas.openxmlformats.org/officeDocument/2006/relationships/slideLayout"/><Relationship Id="rId18" Target="../slideLayouts/slideLayout9.xml" Type="http://schemas.openxmlformats.org/officeDocument/2006/relationships/slideLayout"/><Relationship Id="rId17" Target="../slideLayouts/slideLayout8.xml" Type="http://schemas.openxmlformats.org/officeDocument/2006/relationships/slideLayout"/><Relationship Id="rId16" Target="../slideLayouts/slideLayout7.xml" Type="http://schemas.openxmlformats.org/officeDocument/2006/relationships/slideLayout"/><Relationship Id="rId15" Target="../slideLayouts/slideLayout6.xml" Type="http://schemas.openxmlformats.org/officeDocument/2006/relationships/slideLayout"/><Relationship Id="rId14" Target="../slideLayouts/slideLayout5.xml" Type="http://schemas.openxmlformats.org/officeDocument/2006/relationships/slideLayout"/><Relationship Id="rId13" Target="../slideLayouts/slideLayout4.xml" Type="http://schemas.openxmlformats.org/officeDocument/2006/relationships/slideLayout"/><Relationship Id="rId12" Target="../slideLayouts/slideLayout3.xml" Type="http://schemas.openxmlformats.org/officeDocument/2006/relationships/slideLayout"/><Relationship Id="rId11" Target="../slideLayouts/slideLayout2.xml" Type="http://schemas.openxmlformats.org/officeDocument/2006/relationships/slideLayout"/><Relationship Id="rId9" Target="../tags/tag3.xml" Type="http://schemas.openxmlformats.org/officeDocument/2006/relationships/tags"/><Relationship Id="rId7" Target="../embeddings/oleObject1.bin" Type="http://schemas.openxmlformats.org/officeDocument/2006/relationships/oleObject"/><Relationship Id="rId5" Target="../embeddings/oleObject1.bin" Type="http://schemas.openxmlformats.org/officeDocument/2006/relationships/oleObject"/><Relationship Id="rId10" Target="../slideLayouts/slideLayout1.xml" Type="http://schemas.openxmlformats.org/officeDocument/2006/relationships/slideLayout"/><Relationship Id="rId8" Target="../media/image1.emf" Type="http://schemas.openxmlformats.org/officeDocument/2006/relationships/image"/><Relationship Id="rId3" Target="../tags/tag2.xml" Type="http://schemas.openxmlformats.org/officeDocument/2006/relationships/tags"/><Relationship Id="rId2" Target="../drawings/vmlDrawing1.vml" Type="http://schemas.openxmlformats.org/officeDocument/2006/relationships/vmlDrawing"/><Relationship Id="rId1" Target="../theme/theme1.xml" Type="http://schemas.openxmlformats.org/officeDocument/2006/relationships/theme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8" name="Object 7">
            <a:extLst>
              <a:ext uri="{FF2B5EF4-FFF2-40B4-BE49-F238E27FC236}">
                <a16:creationId xmlns:a16="http://schemas.microsoft.com/office/drawing/2014/main" id="{6B1265C7-1F3C-4F57-ABDB-5D803F55C6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54316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340" imgW="338" name="think-cell Slide" progId="TCLayout.ActiveDocument.1" r:id="rId5" spid="_x0000_s1028">
                  <p:embed/>
                </p:oleObj>
              </mc:Choice>
              <mc:Fallback>
                <p:oleObj imgH="340" imgW="338" name="think-cell Slide" progId="TCLayout.ActiveDocument.1" r:id="rId7" spid="_x0000_s102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hidden="1" id="7" name="Rectangle 6">
            <a:extLst>
              <a:ext uri="{FF2B5EF4-FFF2-40B4-BE49-F238E27FC236}">
                <a16:creationId xmlns:a16="http://schemas.microsoft.com/office/drawing/2014/main" id="{9AFC6195-252C-4A88-A501-D95E0ABADDB4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indent="0" lvl="0" marL="0"/>
            <a:endParaRPr b="0" baseline="0" dirty="0" i="0" lang="en-US" sz="4400">
              <a:latin charset="0" panose="020F0502020204030204" pitchFamily="34" typeface="Calibri"/>
              <a:ea typeface="+mj-ea"/>
              <a:cs typeface="+mj-cs"/>
              <a:sym charset="0" panose="020F0502020204030204" pitchFamily="34"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anchor="ctr" bIns="45720" lIns="91440" numCol="1" rIns="91440" rtlCol="0" tIns="45720" vert="horz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 type="body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bIns="45720" lIns="91440" numCol="1" rIns="91440" rtlCol="0" tIns="45720" vert="horz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idx="2" sz="half" type="dt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anchor="ctr" bIns="45720" lIns="91440" numCol="1" rIns="91440" rtlCol="0" tIns="45720" vert="horz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idx="3" sz="quarter" type="ftr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 bIns="45720" lIns="91440" numCol="1" rIns="91440" rtlCol="0" tIns="45720" vert="horz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idx="4" sz="quarter" type="sldNum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anchor="ctr" bIns="45720" lIns="91440" numCol="1" rIns="91440" rtlCol="0" tIns="45720" vert="horz" wrap="none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271896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648" r:id="rId10"/>
    <p:sldLayoutId id="2147483649" r:id="rId11"/>
    <p:sldLayoutId id="2147483650" r:id="rId12"/>
    <p:sldLayoutId id="2147483651" r:id="rId13"/>
    <p:sldLayoutId id="2147483652" r:id="rId14"/>
    <p:sldLayoutId id="2147483653" r:id="rId15"/>
    <p:sldLayoutId id="2147483654" r:id="rId16"/>
    <p:sldLayoutId id="2147483655" r:id="rId17"/>
    <p:sldLayoutId id="2147483656" r:id="rId18"/>
    <p:sldLayoutId id="2147483657" r:id="rId19"/>
    <p:sldLayoutId id="2147483658" r:id="rId20"/>
  </p:sldLayoutIdLst>
  <p:txStyles>
    <p:titleStyle>
      <a:lvl1pPr algn="ctr" defTabSz="914400" eaLnBrk="1" hangingPunct="1" latinLnBrk="0" rtl="0">
        <a:spcBef>
          <a:spcPct val="0"/>
        </a:spcBef>
        <a:buNone/>
        <a:defRPr kern="1200"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algn="l" defTabSz="914400" eaLnBrk="1" hangingPunct="1" indent="-342900" latinLnBrk="0" marL="342900" rtl="0">
        <a:spcBef>
          <a:spcPct val="20000"/>
        </a:spcBef>
        <a:buFont charset="0" pitchFamily="34" typeface="Arial"/>
        <a:buChar char="•"/>
        <a:defRPr kern="1200" sz="3200">
          <a:solidFill>
            <a:schemeClr val="tx1"/>
          </a:solidFill>
          <a:latin typeface="+mn-lt"/>
          <a:ea typeface="+mn-ea"/>
          <a:cs typeface="+mn-cs"/>
        </a:defRPr>
      </a:lvl1pPr>
      <a:lvl2pPr algn="l" defTabSz="914400" eaLnBrk="1" hangingPunct="1" indent="-285750" latinLnBrk="0" marL="742950" rtl="0">
        <a:spcBef>
          <a:spcPct val="20000"/>
        </a:spcBef>
        <a:buFont charset="0" pitchFamily="34" typeface="Arial"/>
        <a:buChar char="–"/>
        <a:defRPr kern="1200" sz="2800">
          <a:solidFill>
            <a:schemeClr val="tx1"/>
          </a:solidFill>
          <a:latin typeface="+mn-lt"/>
          <a:ea typeface="+mn-ea"/>
          <a:cs typeface="+mn-cs"/>
        </a:defRPr>
      </a:lvl2pPr>
      <a:lvl3pPr algn="l" defTabSz="914400" eaLnBrk="1" hangingPunct="1" indent="-228600" latinLnBrk="0" marL="1143000" rtl="0">
        <a:spcBef>
          <a:spcPct val="20000"/>
        </a:spcBef>
        <a:buFont charset="0" pitchFamily="34" typeface="Arial"/>
        <a:buChar char="•"/>
        <a:defRPr kern="1200" sz="2400">
          <a:solidFill>
            <a:schemeClr val="tx1"/>
          </a:solidFill>
          <a:latin typeface="+mn-lt"/>
          <a:ea typeface="+mn-ea"/>
          <a:cs typeface="+mn-cs"/>
        </a:defRPr>
      </a:lvl3pPr>
      <a:lvl4pPr algn="l" defTabSz="914400" eaLnBrk="1" hangingPunct="1" indent="-228600" latinLnBrk="0" marL="1600200" rtl="0">
        <a:spcBef>
          <a:spcPct val="20000"/>
        </a:spcBef>
        <a:buFont charset="0" pitchFamily="34" typeface="Arial"/>
        <a:buChar char="–"/>
        <a:defRPr kern="1200" sz="2000">
          <a:solidFill>
            <a:schemeClr val="tx1"/>
          </a:solidFill>
          <a:latin typeface="+mn-lt"/>
          <a:ea typeface="+mn-ea"/>
          <a:cs typeface="+mn-cs"/>
        </a:defRPr>
      </a:lvl4pPr>
      <a:lvl5pPr algn="l" defTabSz="914400" eaLnBrk="1" hangingPunct="1" indent="-228600" latinLnBrk="0" marL="2057400" rtl="0">
        <a:spcBef>
          <a:spcPct val="20000"/>
        </a:spcBef>
        <a:buFont charset="0" pitchFamily="34" typeface="Arial"/>
        <a:buChar char="»"/>
        <a:defRPr kern="1200" sz="2000">
          <a:solidFill>
            <a:schemeClr val="tx1"/>
          </a:solidFill>
          <a:latin typeface="+mn-lt"/>
          <a:ea typeface="+mn-ea"/>
          <a:cs typeface="+mn-cs"/>
        </a:defRPr>
      </a:lvl5pPr>
      <a:lvl6pPr algn="l" defTabSz="914400" eaLnBrk="1" hangingPunct="1" indent="-228600" latinLnBrk="0" marL="2514600" rtl="0">
        <a:spcBef>
          <a:spcPct val="20000"/>
        </a:spcBef>
        <a:buFont charset="0" pitchFamily="34" typeface="Arial"/>
        <a:buChar char="•"/>
        <a:defRPr kern="1200" sz="2000">
          <a:solidFill>
            <a:schemeClr val="tx1"/>
          </a:solidFill>
          <a:latin typeface="+mn-lt"/>
          <a:ea typeface="+mn-ea"/>
          <a:cs typeface="+mn-cs"/>
        </a:defRPr>
      </a:lvl6pPr>
      <a:lvl7pPr algn="l" defTabSz="914400" eaLnBrk="1" hangingPunct="1" indent="-228600" latinLnBrk="0" marL="2971800" rtl="0">
        <a:spcBef>
          <a:spcPct val="20000"/>
        </a:spcBef>
        <a:buFont charset="0" pitchFamily="34" typeface="Arial"/>
        <a:buChar char="•"/>
        <a:defRPr kern="1200" sz="2000">
          <a:solidFill>
            <a:schemeClr val="tx1"/>
          </a:solidFill>
          <a:latin typeface="+mn-lt"/>
          <a:ea typeface="+mn-ea"/>
          <a:cs typeface="+mn-cs"/>
        </a:defRPr>
      </a:lvl7pPr>
      <a:lvl8pPr algn="l" defTabSz="914400" eaLnBrk="1" hangingPunct="1" indent="-228600" latinLnBrk="0" marL="3429000" rtl="0">
        <a:spcBef>
          <a:spcPct val="20000"/>
        </a:spcBef>
        <a:buFont charset="0" pitchFamily="34" typeface="Arial"/>
        <a:buChar char="•"/>
        <a:defRPr kern="1200" sz="2000">
          <a:solidFill>
            <a:schemeClr val="tx1"/>
          </a:solidFill>
          <a:latin typeface="+mn-lt"/>
          <a:ea typeface="+mn-ea"/>
          <a:cs typeface="+mn-cs"/>
        </a:defRPr>
      </a:lvl8pPr>
      <a:lvl9pPr algn="l" defTabSz="914400" eaLnBrk="1" hangingPunct="1" indent="-228600" latinLnBrk="0" marL="3886200" rtl="0">
        <a:spcBef>
          <a:spcPct val="20000"/>
        </a:spcBef>
        <a:buFont charset="0" pitchFamily="34" typeface="Arial"/>
        <a:buChar char="•"/>
        <a:defRPr kern="1200"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algn="l" defTabSz="914400" eaLnBrk="1" hangingPunct="1" latinLnBrk="0" marL="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1pPr>
      <a:lvl2pPr algn="l" defTabSz="914400" eaLnBrk="1" hangingPunct="1" latinLnBrk="0" marL="4572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2pPr>
      <a:lvl3pPr algn="l" defTabSz="914400" eaLnBrk="1" hangingPunct="1" latinLnBrk="0" marL="9144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3pPr>
      <a:lvl4pPr algn="l" defTabSz="914400" eaLnBrk="1" hangingPunct="1" latinLnBrk="0" marL="13716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4pPr>
      <a:lvl5pPr algn="l" defTabSz="914400" eaLnBrk="1" hangingPunct="1" latinLnBrk="0" marL="18288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5pPr>
      <a:lvl6pPr algn="l" defTabSz="914400" eaLnBrk="1" hangingPunct="1" latinLnBrk="0" marL="22860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6pPr>
      <a:lvl7pPr algn="l" defTabSz="914400" eaLnBrk="1" hangingPunct="1" latinLnBrk="0" marL="27432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7pPr>
      <a:lvl8pPr algn="l" defTabSz="914400" eaLnBrk="1" hangingPunct="1" latinLnBrk="0" marL="32004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8pPr>
      <a:lvl9pPr algn="l" defTabSz="914400" eaLnBrk="1" hangingPunct="1" latinLnBrk="0" marL="3657600" rtl="0">
        <a:defRPr kern="1200"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<Relationships xmlns="http://schemas.openxmlformats.org/package/2006/relationships"><Relationship Id="rId7" Target="../embeddings/oleObject2.bin" Type="http://schemas.openxmlformats.org/officeDocument/2006/relationships/oleObject"/><Relationship Id="rId8" Target="../media/image1.emf" Type="http://schemas.openxmlformats.org/officeDocument/2006/relationships/image"/><Relationship Id="rId5" Target="../embeddings/oleObject2.bin" Type="http://schemas.openxmlformats.org/officeDocument/2006/relationships/oleObject"/><Relationship Id="rId3" Target="../tags/tag4.xml" Type="http://schemas.openxmlformats.org/officeDocument/2006/relationships/tags"/><Relationship Id="rId2" Target="../drawings/vmlDrawing2.vml" Type="http://schemas.openxmlformats.org/officeDocument/2006/relationships/vmlDrawing"/><Relationship Id="rId1" Target="../slideLayouts/slideLayout1.xml" Type="http://schemas.openxmlformats.org/officeDocument/2006/relationships/slideLayout"/></Relationships>
</file>

<file path=ppt/slides/_rels/slide2.xml.rels><?xml version="1.0" encoding="UTF-8" standalone="yes"?><Relationships xmlns="http://schemas.openxmlformats.org/package/2006/relationships"><Relationship Id="rId16" Target="../tags/tag12.xml" Type="http://schemas.openxmlformats.org/officeDocument/2006/relationships/tags"/><Relationship Id="rId15" Target="../tags/tag5.xml" Type="http://schemas.openxmlformats.org/officeDocument/2006/relationships/tags"/><Relationship Id="rId14" Target="../tags/tag13.xml" Type="http://schemas.openxmlformats.org/officeDocument/2006/relationships/tags"/><Relationship Id="rId13" Target="../tags/tag10.xml" Type="http://schemas.openxmlformats.org/officeDocument/2006/relationships/tags"/><Relationship Id="rId12" Target="../tags/tag8.xml" Type="http://schemas.openxmlformats.org/officeDocument/2006/relationships/tags"/><Relationship Id="rId11" Target="../tags/tag7.xml" Type="http://schemas.openxmlformats.org/officeDocument/2006/relationships/tags"/><Relationship Id="rId10" Target="../tags/tag6.xml" Type="http://schemas.openxmlformats.org/officeDocument/2006/relationships/tags"/><Relationship Id="rId9" Target="../tags/tag11.xml" Type="http://schemas.openxmlformats.org/officeDocument/2006/relationships/tags"/><Relationship Id="rId7" Target="../embeddings/oleObject3.bin" Type="http://schemas.openxmlformats.org/officeDocument/2006/relationships/oleObject"/><Relationship Id="rId8" Target="../media/image1.emf" Type="http://schemas.openxmlformats.org/officeDocument/2006/relationships/image"/><Relationship Id="rId5" Target="../embeddings/oleObject3.bin" Type="http://schemas.openxmlformats.org/officeDocument/2006/relationships/oleObject"/><Relationship Id="rId3" Target="../tags/tag9.xml" Type="http://schemas.openxmlformats.org/officeDocument/2006/relationships/tags"/><Relationship Id="rId2" Target="../drawings/vmlDrawing3.vml" Type="http://schemas.openxmlformats.org/officeDocument/2006/relationships/vmlDrawing"/><Relationship Id="rId1" Target="../slideLayouts/slideLayout6.xml" Type="http://schemas.openxmlformats.org/officeDocument/2006/relationships/slideLayout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4" name="Object 3">
            <a:extLst>
              <a:ext uri="{FF2B5EF4-FFF2-40B4-BE49-F238E27FC236}">
                <a16:creationId xmlns:a16="http://schemas.microsoft.com/office/drawing/2014/main" id="{FAEC69C2-F0BE-467B-BEA8-2663B174D36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3942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340" imgW="338" name="think-cell Slide" progId="TCLayout.ActiveDocument.1" r:id="rId5" spid="_x0000_s2054">
                  <p:embed/>
                </p:oleObj>
              </mc:Choice>
              <mc:Fallback>
                <p:oleObj imgH="340" imgW="338" name="think-cell Slide" progId="TCLayout.ActiveDocument.1" r:id="rId7" spid="_x0000_s205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0708856-1502-47D8-8409-81DEACD62050}"/>
              </a:ext>
            </a:extLst>
          </p:cNvPr>
          <p:cNvSpPr/>
          <p:nvPr/>
        </p:nvSpPr>
        <p:spPr>
          <a:xfrm>
            <a:off x="228600" y="197346"/>
            <a:ext cx="8915400" cy="6186309"/>
          </a:xfrm>
          <a:prstGeom prst="rect">
            <a:avLst/>
          </a:prstGeom>
        </p:spPr>
        <p:txBody>
          <a:bodyPr numCol="1" wrap="square">
            <a:spAutoFit/>
          </a:bodyPr>
          <a:lstStyle/>
          <a:p>
            <a:r>
              <a:rPr dirty="0" lang="en-US">
                <a:solidFill>
                  <a:srgbClr val="24292E"/>
                </a:solidFill>
                <a:latin typeface="-apple-system"/>
              </a:rPr>
              <a:t>The solutions are evaluated on two criteria: predicted future Index values and allocated energy from a newly discovered star</a:t>
            </a:r>
          </a:p>
          <a:p>
            <a:endParaRPr dirty="0" lang="en-US"/>
          </a:p>
          <a:p>
            <a:r>
              <a:rPr dirty="0" lang="en-US"/>
              <a:t>1) Index predictions are evaluated using RMSE metric</a:t>
            </a:r>
          </a:p>
          <a:p>
            <a:endParaRPr dirty="0" lang="en-US"/>
          </a:p>
          <a:p>
            <a:r>
              <a:rPr dirty="0" lang="en-US"/>
              <a:t>2) Energy allocation is also evaluated using RMSE metric and has a set of known factors that need to be taken into account.</a:t>
            </a:r>
          </a:p>
          <a:p>
            <a:endParaRPr dirty="0" lang="en-US"/>
          </a:p>
          <a:p>
            <a:r>
              <a:rPr dirty="0" lang="en-US"/>
              <a:t>Every galaxy has a certain limited potential for improvement in the index described by the following function: </a:t>
            </a:r>
          </a:p>
          <a:p>
            <a:pPr indent="-285750" lvl="1" marL="742950">
              <a:buFont charset="0" panose="020B0604020202020204" pitchFamily="34" typeface="Arial"/>
              <a:buChar char="•"/>
            </a:pPr>
            <a:r>
              <a:rPr dirty="0" lang="en-US"/>
              <a:t>Potential for increase in the Index = </a:t>
            </a:r>
            <a:r>
              <a:rPr altLang="da-DK" dirty="0" lang="da-DK"/>
              <a:t>-np.log(Index+0.01)+3</a:t>
            </a:r>
            <a:br>
              <a:rPr dirty="0" lang="en-US"/>
            </a:br>
            <a:endParaRPr dirty="0" lang="en-US"/>
          </a:p>
          <a:p>
            <a:r>
              <a:rPr dirty="0" lang="en-US"/>
              <a:t>Likely index increase dependent on potential for improvement and on extra energy availability is described by the following function:</a:t>
            </a:r>
          </a:p>
          <a:p>
            <a:pPr indent="-285750" lvl="1" marL="742950">
              <a:buFont charset="0" panose="020B0604020202020204" pitchFamily="34" typeface="Arial"/>
              <a:buChar char="•"/>
            </a:pPr>
            <a:r>
              <a:rPr dirty="0" lang="en-US"/>
              <a:t>Likely increase in the Index = extra energy * Potential for increase in the Index **2 / 1000</a:t>
            </a:r>
          </a:p>
          <a:p>
            <a:pPr indent="-285750" lvl="1" marL="742950">
              <a:buFont charset="0" panose="020B0604020202020204" pitchFamily="34" typeface="Arial"/>
              <a:buChar char="•"/>
            </a:pPr>
            <a:endParaRPr dirty="0" lang="en-US"/>
          </a:p>
          <a:p>
            <a:r>
              <a:rPr dirty="0" lang="en-US"/>
              <a:t>There are also several constraints:</a:t>
            </a:r>
          </a:p>
          <a:p>
            <a:pPr indent="-285750" lvl="1" marL="742950">
              <a:buFont charset="0" panose="020B0604020202020204" pitchFamily="34" typeface="Arial"/>
              <a:buChar char="•"/>
            </a:pPr>
            <a:r>
              <a:rPr dirty="0" lang="en-US"/>
              <a:t>in total there are 50000 zillion DSML available for allocation</a:t>
            </a:r>
          </a:p>
          <a:p>
            <a:pPr indent="-285750" lvl="1" marL="742950">
              <a:buFont charset="0" panose="020B0604020202020204" pitchFamily="34" typeface="Arial"/>
              <a:buChar char="•"/>
            </a:pPr>
            <a:r>
              <a:rPr dirty="0" lang="en-US"/>
              <a:t>no galaxy should be allocated more than 100 zillion DSML or less than 0 zillion DSML</a:t>
            </a:r>
          </a:p>
          <a:p>
            <a:pPr indent="-285750" lvl="1" marL="742950">
              <a:buFont charset="0" panose="020B0604020202020204" pitchFamily="34" typeface="Arial"/>
              <a:buChar char="•"/>
            </a:pPr>
            <a:r>
              <a:rPr dirty="0" lang="en-US"/>
              <a:t>galaxies with low existence expectancy index below 0.7 should be allocated at least 10% of the total energy available</a:t>
            </a:r>
          </a:p>
        </p:txBody>
      </p:sp>
    </p:spTree>
    <p:extLst>
      <p:ext uri="{BB962C8B-B14F-4D97-AF65-F5344CB8AC3E}">
        <p14:creationId xmlns:p14="http://schemas.microsoft.com/office/powerpoint/2010/main" val="29607083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3" name="Object 2">
            <a:extLst>
              <a:ext uri="{FF2B5EF4-FFF2-40B4-BE49-F238E27FC236}">
                <a16:creationId xmlns:a16="http://schemas.microsoft.com/office/drawing/2014/main" id="{E1ED384B-C10F-45A1-9860-95E35E4E2BE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04756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340" imgW="338" name="think-cell Slide" progId="TCLayout.ActiveDocument.1" r:id="rId5" spid="_x0000_s3077">
                  <p:embed/>
                </p:oleObj>
              </mc:Choice>
              <mc:Fallback>
                <p:oleObj imgH="340" imgW="338" name="think-cell Slide" progId="TCLayout.ActiveDocument.1" r:id="rId7" spid="_x0000_s307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A771C56-0BE8-4168-B654-DF4C292D446F}"/>
              </a:ext>
            </a:extLst>
          </p:cNvPr>
          <p:cNvSpPr/>
          <p:nvPr/>
        </p:nvSpPr>
        <p:spPr>
          <a:xfrm>
            <a:off x="152400" y="197346"/>
            <a:ext cx="8915400" cy="4247317"/>
          </a:xfrm>
          <a:prstGeom prst="rect">
            <a:avLst/>
          </a:prstGeom>
        </p:spPr>
        <p:txBody>
          <a:bodyPr numCol="1" wrap="square">
            <a:spAutoFit/>
          </a:bodyPr>
          <a:lstStyle/>
          <a:p>
            <a:r>
              <a:rPr altLang="ru-RU" dirty="0" lang="ru-RU"/>
              <a:t>3) </a:t>
            </a:r>
            <a:r>
              <a:rPr dirty="0" lang="en-US"/>
              <a:t>Leaderboard is based on a combined scaled metric:</a:t>
            </a:r>
            <a:endParaRPr altLang="ru-RU" dirty="0" lang="ru-RU"/>
          </a:p>
          <a:p>
            <a:endParaRPr dirty="0" lang="en-US"/>
          </a:p>
          <a:p>
            <a:pPr indent="-285750" lvl="1" marL="742950">
              <a:buFont charset="0" panose="020B0604020202020204" pitchFamily="34" typeface="Arial"/>
              <a:buChar char="•"/>
            </a:pPr>
            <a:r>
              <a:rPr dirty="0" lang="en-US"/>
              <a:t>80% prediction task RMSE + 20% optimization task RMSE * lambda</a:t>
            </a:r>
            <a:endParaRPr altLang="ru-RU" dirty="0" lang="ru-RU"/>
          </a:p>
          <a:p>
            <a:pPr indent="-285750" lvl="1" marL="742950">
              <a:buFont charset="0" panose="020B0604020202020204" pitchFamily="34" typeface="Arial"/>
              <a:buChar char="•"/>
            </a:pPr>
            <a:endParaRPr dirty="0" lang="en-US"/>
          </a:p>
          <a:p>
            <a:r>
              <a:rPr dirty="0" lang="en-US"/>
              <a:t>where lambda is a normalizing factor</a:t>
            </a:r>
            <a:endParaRPr altLang="ru-RU" dirty="0" lang="ru-RU"/>
          </a:p>
          <a:p>
            <a:endParaRPr dirty="0" lang="en-US"/>
          </a:p>
          <a:p>
            <a:endParaRPr altLang="ru-RU" dirty="0" lang="ru-RU"/>
          </a:p>
          <a:p>
            <a:r>
              <a:rPr altLang="ru-RU" dirty="0" lang="ru-RU"/>
              <a:t>4) </a:t>
            </a:r>
            <a:r>
              <a:rPr dirty="0" lang="en-US"/>
              <a:t>Leaderboard is 80% public and 20% private</a:t>
            </a:r>
          </a:p>
          <a:p>
            <a:endParaRPr dirty="0" lang="en-US"/>
          </a:p>
          <a:p>
            <a:endParaRPr dirty="0" lang="en-US"/>
          </a:p>
          <a:p>
            <a:r>
              <a:rPr dirty="0" lang="en-US"/>
              <a:t>5) The submission should be in the following format:</a:t>
            </a:r>
          </a:p>
          <a:p>
            <a:endParaRPr dirty="0" lang="en-US"/>
          </a:p>
          <a:p>
            <a:endParaRPr dirty="0" lang="en-US"/>
          </a:p>
          <a:p>
            <a:endParaRPr altLang="ru-RU" dirty="0" lang="ru-RU"/>
          </a:p>
          <a:p>
            <a:endParaRPr dirty="0"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F2DB9CA-1AB0-4638-81BC-BCB44CD444E6}"/>
              </a:ext>
            </a:extLst>
          </p:cNvPr>
          <p:cNvGrpSpPr/>
          <p:nvPr/>
        </p:nvGrpSpPr>
        <p:grpSpPr>
          <a:xfrm>
            <a:off x="266700" y="3810000"/>
            <a:ext cx="8610600" cy="2348346"/>
            <a:chOff x="119063" y="1016000"/>
            <a:chExt cx="8801100" cy="4953000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3E68390-0C61-408D-970B-455820486968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>
            <a:xfrm>
              <a:off x="119063" y="1016000"/>
              <a:ext cx="4273550" cy="1047750"/>
            </a:xfrm>
            <a:prstGeom prst="rect">
              <a:avLst/>
            </a:prstGeom>
          </p:spPr>
          <p:txBody>
            <a:bodyPr anchor="t" bIns="0" lIns="0" numCol="1" rIns="0" rtlCol="0" tIns="0" vert="horz" wrap="square">
              <a:noAutofit/>
            </a:bodyPr>
            <a:lstStyle>
              <a:lvl1pPr indent="-342900" lvl="0" marL="342900">
                <a:spcBef>
                  <a:spcPct val="20000"/>
                </a:spcBef>
                <a:buFont charset="0" pitchFamily="34" typeface="Arial"/>
                <a:buChar char="•"/>
                <a:defRPr sz="3200"/>
              </a:lvl1pPr>
              <a:lvl2pPr indent="-285750" lvl="1" marL="742950">
                <a:spcBef>
                  <a:spcPct val="20000"/>
                </a:spcBef>
                <a:buFont charset="0" pitchFamily="34" typeface="Arial"/>
                <a:buChar char="–"/>
                <a:defRPr sz="2800"/>
              </a:lvl2pPr>
              <a:lvl3pPr indent="-228600" lvl="2" marL="1143000">
                <a:spcBef>
                  <a:spcPct val="20000"/>
                </a:spcBef>
                <a:buFont charset="0" pitchFamily="34" typeface="Arial"/>
                <a:buChar char="•"/>
                <a:defRPr sz="2400"/>
              </a:lvl3pPr>
              <a:lvl4pPr indent="-228600" lvl="3" marL="1600200">
                <a:spcBef>
                  <a:spcPct val="20000"/>
                </a:spcBef>
                <a:buFont charset="0" pitchFamily="34" typeface="Arial"/>
                <a:buChar char="–"/>
                <a:defRPr sz="2000"/>
              </a:lvl4pPr>
              <a:lvl5pPr indent="-228600" lvl="4" marL="2057400">
                <a:spcBef>
                  <a:spcPct val="20000"/>
                </a:spcBef>
                <a:buFont charset="0" pitchFamily="34" typeface="Arial"/>
                <a:buChar char="»"/>
                <a:defRPr sz="2000"/>
              </a:lvl5pPr>
              <a:lvl6pPr indent="-228600" marL="2514600">
                <a:spcBef>
                  <a:spcPct val="20000"/>
                </a:spcBef>
                <a:buFont charset="0" pitchFamily="34" typeface="Arial"/>
                <a:buChar char="•"/>
                <a:defRPr sz="2000"/>
              </a:lvl6pPr>
              <a:lvl7pPr indent="-228600" marL="2971800">
                <a:spcBef>
                  <a:spcPct val="20000"/>
                </a:spcBef>
                <a:buFont charset="0" pitchFamily="34" typeface="Arial"/>
                <a:buChar char="•"/>
                <a:defRPr sz="2000"/>
              </a:lvl7pPr>
              <a:lvl8pPr indent="-228600" marL="3429000">
                <a:spcBef>
                  <a:spcPct val="20000"/>
                </a:spcBef>
                <a:buFont charset="0" pitchFamily="34" typeface="Arial"/>
                <a:buChar char="•"/>
                <a:defRPr sz="2000"/>
              </a:lvl8pPr>
              <a:lvl9pPr indent="-228600" marL="3886200">
                <a:spcBef>
                  <a:spcPct val="20000"/>
                </a:spcBef>
                <a:buFont charset="0" pitchFamily="34" typeface="Arial"/>
                <a:buChar char="•"/>
                <a:defRPr sz="2000"/>
              </a:lvl9pPr>
            </a:lstStyle>
            <a:p>
              <a:pPr algn="ctr" indent="0" marL="0">
                <a:buNone/>
              </a:pPr>
              <a:r>
                <a:rPr b="1" dirty="0" lang="en-US" sz="1800"/>
                <a:t>Variable</a:t>
              </a:r>
              <a:endParaRPr altLang="ru-RU" b="1" dirty="0" lang="ru-RU" sz="180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D7F229A-623C-49C5-8060-256053D4CC86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119063" y="2317750"/>
              <a:ext cx="4273550" cy="1047750"/>
            </a:xfrm>
            <a:prstGeom prst="rect">
              <a:avLst/>
            </a:prstGeom>
          </p:spPr>
          <p:txBody>
            <a:bodyPr anchor="t" bIns="0" lIns="0" numCol="1" rIns="0" rtlCol="0" tIns="0" vert="horz" wrap="square">
              <a:noAutofit/>
            </a:bodyPr>
            <a:lstStyle>
              <a:lvl1pPr indent="-342900" lvl="0" marL="342900">
                <a:spcBef>
                  <a:spcPct val="20000"/>
                </a:spcBef>
                <a:buFont charset="0" pitchFamily="34" typeface="Arial"/>
                <a:buChar char="•"/>
                <a:defRPr sz="3200"/>
              </a:lvl1pPr>
              <a:lvl2pPr indent="-285750" lvl="1" marL="742950">
                <a:spcBef>
                  <a:spcPct val="20000"/>
                </a:spcBef>
                <a:buFont charset="0" pitchFamily="34" typeface="Arial"/>
                <a:buChar char="–"/>
                <a:defRPr sz="2800"/>
              </a:lvl2pPr>
              <a:lvl3pPr indent="-228600" lvl="2" marL="1143000">
                <a:spcBef>
                  <a:spcPct val="20000"/>
                </a:spcBef>
                <a:buFont charset="0" pitchFamily="34" typeface="Arial"/>
                <a:buChar char="•"/>
                <a:defRPr sz="2400"/>
              </a:lvl3pPr>
              <a:lvl4pPr indent="-228600" lvl="3" marL="1600200">
                <a:spcBef>
                  <a:spcPct val="20000"/>
                </a:spcBef>
                <a:buFont charset="0" pitchFamily="34" typeface="Arial"/>
                <a:buChar char="–"/>
                <a:defRPr sz="2000"/>
              </a:lvl4pPr>
              <a:lvl5pPr indent="-228600" lvl="4" marL="2057400">
                <a:spcBef>
                  <a:spcPct val="20000"/>
                </a:spcBef>
                <a:buFont charset="0" pitchFamily="34" typeface="Arial"/>
                <a:buChar char="»"/>
                <a:defRPr sz="2000"/>
              </a:lvl5pPr>
              <a:lvl6pPr indent="-228600" marL="2514600">
                <a:spcBef>
                  <a:spcPct val="20000"/>
                </a:spcBef>
                <a:buFont charset="0" pitchFamily="34" typeface="Arial"/>
                <a:buChar char="•"/>
                <a:defRPr sz="2000"/>
              </a:lvl6pPr>
              <a:lvl7pPr indent="-228600" marL="2971800">
                <a:spcBef>
                  <a:spcPct val="20000"/>
                </a:spcBef>
                <a:buFont charset="0" pitchFamily="34" typeface="Arial"/>
                <a:buChar char="•"/>
                <a:defRPr sz="2000"/>
              </a:lvl7pPr>
              <a:lvl8pPr indent="-228600" marL="3429000">
                <a:spcBef>
                  <a:spcPct val="20000"/>
                </a:spcBef>
                <a:buFont charset="0" pitchFamily="34" typeface="Arial"/>
                <a:buChar char="•"/>
                <a:defRPr sz="2000"/>
              </a:lvl8pPr>
              <a:lvl9pPr indent="-228600" marL="3886200">
                <a:spcBef>
                  <a:spcPct val="20000"/>
                </a:spcBef>
                <a:buFont charset="0" pitchFamily="34" typeface="Arial"/>
                <a:buChar char="•"/>
                <a:defRPr sz="2000"/>
              </a:lvl9pPr>
            </a:lstStyle>
            <a:p>
              <a:pPr algn="ctr" indent="0" marL="0">
                <a:buNone/>
              </a:pPr>
              <a:r>
                <a:rPr dirty="0" lang="en-US" sz="1800"/>
                <a:t>Index</a:t>
              </a:r>
              <a:endParaRPr altLang="ru-RU" dirty="0" lang="ru-RU" sz="180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627338A-2393-496F-94D3-B45025A39D0E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119063" y="3619500"/>
              <a:ext cx="4273550" cy="1047750"/>
            </a:xfrm>
            <a:prstGeom prst="rect">
              <a:avLst/>
            </a:prstGeom>
          </p:spPr>
          <p:txBody>
            <a:bodyPr anchor="t" bIns="0" lIns="0" numCol="1" rIns="0" rtlCol="0" tIns="0" vert="horz" wrap="square">
              <a:noAutofit/>
            </a:bodyPr>
            <a:lstStyle>
              <a:lvl1pPr indent="-342900" lvl="0" marL="342900">
                <a:spcBef>
                  <a:spcPct val="20000"/>
                </a:spcBef>
                <a:buFont charset="0" pitchFamily="34" typeface="Arial"/>
                <a:buChar char="•"/>
                <a:defRPr sz="3200"/>
              </a:lvl1pPr>
              <a:lvl2pPr indent="-285750" lvl="1" marL="742950">
                <a:spcBef>
                  <a:spcPct val="20000"/>
                </a:spcBef>
                <a:buFont charset="0" pitchFamily="34" typeface="Arial"/>
                <a:buChar char="–"/>
                <a:defRPr sz="2800"/>
              </a:lvl2pPr>
              <a:lvl3pPr indent="-228600" lvl="2" marL="1143000">
                <a:spcBef>
                  <a:spcPct val="20000"/>
                </a:spcBef>
                <a:buFont charset="0" pitchFamily="34" typeface="Arial"/>
                <a:buChar char="•"/>
                <a:defRPr sz="2400"/>
              </a:lvl3pPr>
              <a:lvl4pPr indent="-228600" lvl="3" marL="1600200">
                <a:spcBef>
                  <a:spcPct val="20000"/>
                </a:spcBef>
                <a:buFont charset="0" pitchFamily="34" typeface="Arial"/>
                <a:buChar char="–"/>
                <a:defRPr sz="2000"/>
              </a:lvl4pPr>
              <a:lvl5pPr indent="-228600" lvl="4" marL="2057400">
                <a:spcBef>
                  <a:spcPct val="20000"/>
                </a:spcBef>
                <a:buFont charset="0" pitchFamily="34" typeface="Arial"/>
                <a:buChar char="»"/>
                <a:defRPr sz="2000"/>
              </a:lvl5pPr>
              <a:lvl6pPr indent="-228600" marL="2514600">
                <a:spcBef>
                  <a:spcPct val="20000"/>
                </a:spcBef>
                <a:buFont charset="0" pitchFamily="34" typeface="Arial"/>
                <a:buChar char="•"/>
                <a:defRPr sz="2000"/>
              </a:lvl6pPr>
              <a:lvl7pPr indent="-228600" marL="2971800">
                <a:spcBef>
                  <a:spcPct val="20000"/>
                </a:spcBef>
                <a:buFont charset="0" pitchFamily="34" typeface="Arial"/>
                <a:buChar char="•"/>
                <a:defRPr sz="2000"/>
              </a:lvl7pPr>
              <a:lvl8pPr indent="-228600" marL="3429000">
                <a:spcBef>
                  <a:spcPct val="20000"/>
                </a:spcBef>
                <a:buFont charset="0" pitchFamily="34" typeface="Arial"/>
                <a:buChar char="•"/>
                <a:defRPr sz="2000"/>
              </a:lvl8pPr>
              <a:lvl9pPr indent="-228600" marL="3886200">
                <a:spcBef>
                  <a:spcPct val="20000"/>
                </a:spcBef>
                <a:buFont charset="0" pitchFamily="34" typeface="Arial"/>
                <a:buChar char="•"/>
                <a:defRPr sz="2000"/>
              </a:lvl9pPr>
            </a:lstStyle>
            <a:p>
              <a:pPr algn="ctr" indent="0" marL="0">
                <a:buNone/>
              </a:pPr>
              <a:r>
                <a:rPr dirty="0" err="1" lang="en-US" sz="1800"/>
                <a:t>pred</a:t>
              </a:r>
              <a:endParaRPr altLang="ru-RU" dirty="0" lang="ru-RU" sz="180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9716463-130B-435F-B9F0-C013BBB35409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119063" y="4921249"/>
              <a:ext cx="4273550" cy="1047751"/>
            </a:xfrm>
            <a:prstGeom prst="rect">
              <a:avLst/>
            </a:prstGeom>
          </p:spPr>
          <p:txBody>
            <a:bodyPr anchor="t" bIns="0" lIns="0" numCol="1" rIns="0" rtlCol="0" tIns="0" vert="horz" wrap="square">
              <a:noAutofit/>
            </a:bodyPr>
            <a:lstStyle>
              <a:lvl1pPr indent="-342900" lvl="0" marL="342900">
                <a:spcBef>
                  <a:spcPct val="20000"/>
                </a:spcBef>
                <a:buFont charset="0" pitchFamily="34" typeface="Arial"/>
                <a:buChar char="•"/>
                <a:defRPr sz="3200"/>
              </a:lvl1pPr>
              <a:lvl2pPr indent="-285750" lvl="1" marL="742950">
                <a:spcBef>
                  <a:spcPct val="20000"/>
                </a:spcBef>
                <a:buFont charset="0" pitchFamily="34" typeface="Arial"/>
                <a:buChar char="–"/>
                <a:defRPr sz="2800"/>
              </a:lvl2pPr>
              <a:lvl3pPr indent="-228600" lvl="2" marL="1143000">
                <a:spcBef>
                  <a:spcPct val="20000"/>
                </a:spcBef>
                <a:buFont charset="0" pitchFamily="34" typeface="Arial"/>
                <a:buChar char="•"/>
                <a:defRPr sz="2400"/>
              </a:lvl3pPr>
              <a:lvl4pPr indent="-228600" lvl="3" marL="1600200">
                <a:spcBef>
                  <a:spcPct val="20000"/>
                </a:spcBef>
                <a:buFont charset="0" pitchFamily="34" typeface="Arial"/>
                <a:buChar char="–"/>
                <a:defRPr sz="2000"/>
              </a:lvl4pPr>
              <a:lvl5pPr indent="-228600" lvl="4" marL="2057400">
                <a:spcBef>
                  <a:spcPct val="20000"/>
                </a:spcBef>
                <a:buFont charset="0" pitchFamily="34" typeface="Arial"/>
                <a:buChar char="»"/>
                <a:defRPr sz="2000"/>
              </a:lvl5pPr>
              <a:lvl6pPr indent="-228600" marL="2514600">
                <a:spcBef>
                  <a:spcPct val="20000"/>
                </a:spcBef>
                <a:buFont charset="0" pitchFamily="34" typeface="Arial"/>
                <a:buChar char="•"/>
                <a:defRPr sz="2000"/>
              </a:lvl6pPr>
              <a:lvl7pPr indent="-228600" marL="2971800">
                <a:spcBef>
                  <a:spcPct val="20000"/>
                </a:spcBef>
                <a:buFont charset="0" pitchFamily="34" typeface="Arial"/>
                <a:buChar char="•"/>
                <a:defRPr sz="2000"/>
              </a:lvl7pPr>
              <a:lvl8pPr indent="-228600" marL="3429000">
                <a:spcBef>
                  <a:spcPct val="20000"/>
                </a:spcBef>
                <a:buFont charset="0" pitchFamily="34" typeface="Arial"/>
                <a:buChar char="•"/>
                <a:defRPr sz="2000"/>
              </a:lvl8pPr>
              <a:lvl9pPr indent="-228600" marL="3886200">
                <a:spcBef>
                  <a:spcPct val="20000"/>
                </a:spcBef>
                <a:buFont charset="0" pitchFamily="34" typeface="Arial"/>
                <a:buChar char="•"/>
                <a:defRPr sz="2000"/>
              </a:lvl9pPr>
            </a:lstStyle>
            <a:p>
              <a:pPr algn="ctr" indent="0" marL="0">
                <a:buNone/>
              </a:pPr>
              <a:r>
                <a:rPr sz="1800"/>
                <a:t>opt_pred</a:t>
              </a:r>
              <a:endParaRPr altLang="ru-RU" dirty="0" lang="ru-RU" sz="180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3EF634A-AFFF-4DC9-921C-2BF6DBF7AF52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4646613" y="1016000"/>
              <a:ext cx="4273550" cy="1047750"/>
            </a:xfrm>
            <a:prstGeom prst="rect">
              <a:avLst/>
            </a:prstGeom>
          </p:spPr>
          <p:txBody>
            <a:bodyPr anchor="t" bIns="0" lIns="0" numCol="1" rIns="0" rtlCol="0" tIns="0" vert="horz" wrap="square">
              <a:noAutofit/>
            </a:bodyPr>
            <a:lstStyle>
              <a:lvl1pPr indent="-342900" lvl="0" marL="342900">
                <a:spcBef>
                  <a:spcPct val="20000"/>
                </a:spcBef>
                <a:buFont charset="0" pitchFamily="34" typeface="Arial"/>
                <a:buChar char="•"/>
                <a:defRPr sz="3200"/>
              </a:lvl1pPr>
              <a:lvl2pPr indent="-285750" lvl="1" marL="742950">
                <a:spcBef>
                  <a:spcPct val="20000"/>
                </a:spcBef>
                <a:buFont charset="0" pitchFamily="34" typeface="Arial"/>
                <a:buChar char="–"/>
                <a:defRPr sz="2800"/>
              </a:lvl2pPr>
              <a:lvl3pPr indent="-228600" lvl="2" marL="1143000">
                <a:spcBef>
                  <a:spcPct val="20000"/>
                </a:spcBef>
                <a:buFont charset="0" pitchFamily="34" typeface="Arial"/>
                <a:buChar char="•"/>
                <a:defRPr sz="2400"/>
              </a:lvl3pPr>
              <a:lvl4pPr indent="-228600" lvl="3" marL="1600200">
                <a:spcBef>
                  <a:spcPct val="20000"/>
                </a:spcBef>
                <a:buFont charset="0" pitchFamily="34" typeface="Arial"/>
                <a:buChar char="–"/>
                <a:defRPr sz="2000"/>
              </a:lvl4pPr>
              <a:lvl5pPr indent="-228600" lvl="4" marL="2057400">
                <a:spcBef>
                  <a:spcPct val="20000"/>
                </a:spcBef>
                <a:buFont charset="0" pitchFamily="34" typeface="Arial"/>
                <a:buChar char="»"/>
                <a:defRPr sz="2000"/>
              </a:lvl5pPr>
              <a:lvl6pPr indent="-228600" marL="2514600">
                <a:spcBef>
                  <a:spcPct val="20000"/>
                </a:spcBef>
                <a:buFont charset="0" pitchFamily="34" typeface="Arial"/>
                <a:buChar char="•"/>
                <a:defRPr sz="2000"/>
              </a:lvl6pPr>
              <a:lvl7pPr indent="-228600" marL="2971800">
                <a:spcBef>
                  <a:spcPct val="20000"/>
                </a:spcBef>
                <a:buFont charset="0" pitchFamily="34" typeface="Arial"/>
                <a:buChar char="•"/>
                <a:defRPr sz="2000"/>
              </a:lvl7pPr>
              <a:lvl8pPr indent="-228600" marL="3429000">
                <a:spcBef>
                  <a:spcPct val="20000"/>
                </a:spcBef>
                <a:buFont charset="0" pitchFamily="34" typeface="Arial"/>
                <a:buChar char="•"/>
                <a:defRPr sz="2000"/>
              </a:lvl8pPr>
              <a:lvl9pPr indent="-228600" marL="3886200">
                <a:spcBef>
                  <a:spcPct val="20000"/>
                </a:spcBef>
                <a:buFont charset="0" pitchFamily="34" typeface="Arial"/>
                <a:buChar char="•"/>
                <a:defRPr sz="2000"/>
              </a:lvl9pPr>
            </a:lstStyle>
            <a:p>
              <a:pPr algn="ctr" indent="0" marL="0">
                <a:buNone/>
              </a:pPr>
              <a:r>
                <a:rPr b="1" dirty="0" lang="en-US" sz="1800"/>
                <a:t>Description</a:t>
              </a:r>
              <a:endParaRPr altLang="ru-RU" b="1" dirty="0" lang="ru-RU" sz="180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FBAF98B-94AC-48F2-B011-3CAD9F50F19F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>
            <a:xfrm>
              <a:off x="4646613" y="2317750"/>
              <a:ext cx="4273550" cy="1047750"/>
            </a:xfrm>
            <a:prstGeom prst="rect">
              <a:avLst/>
            </a:prstGeom>
          </p:spPr>
          <p:txBody>
            <a:bodyPr anchor="t" bIns="0" lIns="0" numCol="1" rIns="0" rtlCol="0" tIns="0" vert="horz" wrap="square">
              <a:noAutofit/>
            </a:bodyPr>
            <a:lstStyle>
              <a:lvl1pPr indent="-342900" lvl="0" marL="342900">
                <a:spcBef>
                  <a:spcPct val="20000"/>
                </a:spcBef>
                <a:buFont charset="0" pitchFamily="34" typeface="Arial"/>
                <a:buChar char="•"/>
                <a:defRPr sz="3200"/>
              </a:lvl1pPr>
              <a:lvl2pPr indent="-285750" lvl="1" marL="742950">
                <a:spcBef>
                  <a:spcPct val="20000"/>
                </a:spcBef>
                <a:buFont charset="0" pitchFamily="34" typeface="Arial"/>
                <a:buChar char="–"/>
                <a:defRPr sz="2800"/>
              </a:lvl2pPr>
              <a:lvl3pPr indent="-228600" lvl="2" marL="1143000">
                <a:spcBef>
                  <a:spcPct val="20000"/>
                </a:spcBef>
                <a:buFont charset="0" pitchFamily="34" typeface="Arial"/>
                <a:buChar char="•"/>
                <a:defRPr sz="2400"/>
              </a:lvl3pPr>
              <a:lvl4pPr indent="-228600" lvl="3" marL="1600200">
                <a:spcBef>
                  <a:spcPct val="20000"/>
                </a:spcBef>
                <a:buFont charset="0" pitchFamily="34" typeface="Arial"/>
                <a:buChar char="–"/>
                <a:defRPr sz="2000"/>
              </a:lvl4pPr>
              <a:lvl5pPr indent="-228600" lvl="4" marL="2057400">
                <a:spcBef>
                  <a:spcPct val="20000"/>
                </a:spcBef>
                <a:buFont charset="0" pitchFamily="34" typeface="Arial"/>
                <a:buChar char="»"/>
                <a:defRPr sz="2000"/>
              </a:lvl5pPr>
              <a:lvl6pPr indent="-228600" marL="2514600">
                <a:spcBef>
                  <a:spcPct val="20000"/>
                </a:spcBef>
                <a:buFont charset="0" pitchFamily="34" typeface="Arial"/>
                <a:buChar char="•"/>
                <a:defRPr sz="2000"/>
              </a:lvl6pPr>
              <a:lvl7pPr indent="-228600" marL="2971800">
                <a:spcBef>
                  <a:spcPct val="20000"/>
                </a:spcBef>
                <a:buFont charset="0" pitchFamily="34" typeface="Arial"/>
                <a:buChar char="•"/>
                <a:defRPr sz="2000"/>
              </a:lvl7pPr>
              <a:lvl8pPr indent="-228600" marL="3429000">
                <a:spcBef>
                  <a:spcPct val="20000"/>
                </a:spcBef>
                <a:buFont charset="0" pitchFamily="34" typeface="Arial"/>
                <a:buChar char="•"/>
                <a:defRPr sz="2000"/>
              </a:lvl8pPr>
              <a:lvl9pPr indent="-228600" marL="3886200">
                <a:spcBef>
                  <a:spcPct val="20000"/>
                </a:spcBef>
                <a:buFont charset="0" pitchFamily="34" typeface="Arial"/>
                <a:buChar char="•"/>
                <a:defRPr sz="2000"/>
              </a:lvl9pPr>
            </a:lstStyle>
            <a:p>
              <a:pPr algn="ctr" indent="0" marL="0">
                <a:buNone/>
              </a:pPr>
              <a:r>
                <a:rPr dirty="0" lang="en-US" sz="1800"/>
                <a:t>Unique index from the test dataset in the ascending order</a:t>
              </a:r>
              <a:endParaRPr altLang="ru-RU" dirty="0" lang="ru-RU" sz="180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7CEC847-BDA7-400E-AE2E-A2904BB88A53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4646613" y="3619500"/>
              <a:ext cx="4273550" cy="1047750"/>
            </a:xfrm>
            <a:prstGeom prst="rect">
              <a:avLst/>
            </a:prstGeom>
          </p:spPr>
          <p:txBody>
            <a:bodyPr anchor="t" bIns="0" lIns="0" numCol="1" rIns="0" rtlCol="0" tIns="0" vert="horz" wrap="square">
              <a:noAutofit/>
            </a:bodyPr>
            <a:lstStyle>
              <a:lvl1pPr indent="-342900" lvl="0" marL="342900">
                <a:spcBef>
                  <a:spcPct val="20000"/>
                </a:spcBef>
                <a:buFont charset="0" pitchFamily="34" typeface="Arial"/>
                <a:buChar char="•"/>
                <a:defRPr sz="3200"/>
              </a:lvl1pPr>
              <a:lvl2pPr indent="-285750" lvl="1" marL="742950">
                <a:spcBef>
                  <a:spcPct val="20000"/>
                </a:spcBef>
                <a:buFont charset="0" pitchFamily="34" typeface="Arial"/>
                <a:buChar char="–"/>
                <a:defRPr sz="2800"/>
              </a:lvl2pPr>
              <a:lvl3pPr indent="-228600" lvl="2" marL="1143000">
                <a:spcBef>
                  <a:spcPct val="20000"/>
                </a:spcBef>
                <a:buFont charset="0" pitchFamily="34" typeface="Arial"/>
                <a:buChar char="•"/>
                <a:defRPr sz="2400"/>
              </a:lvl3pPr>
              <a:lvl4pPr indent="-228600" lvl="3" marL="1600200">
                <a:spcBef>
                  <a:spcPct val="20000"/>
                </a:spcBef>
                <a:buFont charset="0" pitchFamily="34" typeface="Arial"/>
                <a:buChar char="–"/>
                <a:defRPr sz="2000"/>
              </a:lvl4pPr>
              <a:lvl5pPr indent="-228600" lvl="4" marL="2057400">
                <a:spcBef>
                  <a:spcPct val="20000"/>
                </a:spcBef>
                <a:buFont charset="0" pitchFamily="34" typeface="Arial"/>
                <a:buChar char="»"/>
                <a:defRPr sz="2000"/>
              </a:lvl5pPr>
              <a:lvl6pPr indent="-228600" marL="2514600">
                <a:spcBef>
                  <a:spcPct val="20000"/>
                </a:spcBef>
                <a:buFont charset="0" pitchFamily="34" typeface="Arial"/>
                <a:buChar char="•"/>
                <a:defRPr sz="2000"/>
              </a:lvl6pPr>
              <a:lvl7pPr indent="-228600" marL="2971800">
                <a:spcBef>
                  <a:spcPct val="20000"/>
                </a:spcBef>
                <a:buFont charset="0" pitchFamily="34" typeface="Arial"/>
                <a:buChar char="•"/>
                <a:defRPr sz="2000"/>
              </a:lvl7pPr>
              <a:lvl8pPr indent="-228600" marL="3429000">
                <a:spcBef>
                  <a:spcPct val="20000"/>
                </a:spcBef>
                <a:buFont charset="0" pitchFamily="34" typeface="Arial"/>
                <a:buChar char="•"/>
                <a:defRPr sz="2000"/>
              </a:lvl8pPr>
              <a:lvl9pPr indent="-228600" marL="3886200">
                <a:spcBef>
                  <a:spcPct val="20000"/>
                </a:spcBef>
                <a:buFont charset="0" pitchFamily="34" typeface="Arial"/>
                <a:buChar char="•"/>
                <a:defRPr sz="2000"/>
              </a:lvl9pPr>
            </a:lstStyle>
            <a:p>
              <a:pPr algn="ctr" indent="0" marL="0">
                <a:buNone/>
              </a:pPr>
              <a:r>
                <a:rPr dirty="0" lang="en-US" sz="1800"/>
                <a:t>Prediction for the index of interest</a:t>
              </a:r>
              <a:endParaRPr altLang="ru-RU" dirty="0" lang="ru-RU" sz="180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7A39E0D-5358-449A-9089-980C3581EB56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>
            <a:xfrm>
              <a:off x="4646613" y="4921250"/>
              <a:ext cx="4273550" cy="1047750"/>
            </a:xfrm>
            <a:prstGeom prst="rect">
              <a:avLst/>
            </a:prstGeom>
          </p:spPr>
          <p:txBody>
            <a:bodyPr anchor="t" bIns="0" lIns="0" numCol="1" rIns="0" rtlCol="0" tIns="0" vert="horz" wrap="square">
              <a:noAutofit/>
            </a:bodyPr>
            <a:lstStyle>
              <a:lvl1pPr indent="-342900" lvl="0" marL="342900">
                <a:spcBef>
                  <a:spcPct val="20000"/>
                </a:spcBef>
                <a:buFont charset="0" pitchFamily="34" typeface="Arial"/>
                <a:buChar char="•"/>
                <a:defRPr sz="3200"/>
              </a:lvl1pPr>
              <a:lvl2pPr indent="-285750" lvl="1" marL="742950">
                <a:spcBef>
                  <a:spcPct val="20000"/>
                </a:spcBef>
                <a:buFont charset="0" pitchFamily="34" typeface="Arial"/>
                <a:buChar char="–"/>
                <a:defRPr sz="2800"/>
              </a:lvl2pPr>
              <a:lvl3pPr indent="-228600" lvl="2" marL="1143000">
                <a:spcBef>
                  <a:spcPct val="20000"/>
                </a:spcBef>
                <a:buFont charset="0" pitchFamily="34" typeface="Arial"/>
                <a:buChar char="•"/>
                <a:defRPr sz="2400"/>
              </a:lvl3pPr>
              <a:lvl4pPr indent="-228600" lvl="3" marL="1600200">
                <a:spcBef>
                  <a:spcPct val="20000"/>
                </a:spcBef>
                <a:buFont charset="0" pitchFamily="34" typeface="Arial"/>
                <a:buChar char="–"/>
                <a:defRPr sz="2000"/>
              </a:lvl4pPr>
              <a:lvl5pPr indent="-228600" lvl="4" marL="2057400">
                <a:spcBef>
                  <a:spcPct val="20000"/>
                </a:spcBef>
                <a:buFont charset="0" pitchFamily="34" typeface="Arial"/>
                <a:buChar char="»"/>
                <a:defRPr sz="2000"/>
              </a:lvl5pPr>
              <a:lvl6pPr indent="-228600" marL="2514600">
                <a:spcBef>
                  <a:spcPct val="20000"/>
                </a:spcBef>
                <a:buFont charset="0" pitchFamily="34" typeface="Arial"/>
                <a:buChar char="•"/>
                <a:defRPr sz="2000"/>
              </a:lvl6pPr>
              <a:lvl7pPr indent="-228600" marL="2971800">
                <a:spcBef>
                  <a:spcPct val="20000"/>
                </a:spcBef>
                <a:buFont charset="0" pitchFamily="34" typeface="Arial"/>
                <a:buChar char="•"/>
                <a:defRPr sz="2000"/>
              </a:lvl7pPr>
              <a:lvl8pPr indent="-228600" marL="3429000">
                <a:spcBef>
                  <a:spcPct val="20000"/>
                </a:spcBef>
                <a:buFont charset="0" pitchFamily="34" typeface="Arial"/>
                <a:buChar char="•"/>
                <a:defRPr sz="2000"/>
              </a:lvl8pPr>
              <a:lvl9pPr indent="-228600" marL="3886200">
                <a:spcBef>
                  <a:spcPct val="20000"/>
                </a:spcBef>
                <a:buFont charset="0" pitchFamily="34" typeface="Arial"/>
                <a:buChar char="•"/>
                <a:defRPr sz="2000"/>
              </a:lvl9pPr>
            </a:lstStyle>
            <a:p>
              <a:pPr algn="ctr" indent="0" marL="0">
                <a:buNone/>
              </a:pPr>
              <a:r>
                <a:rPr dirty="0" lang="en-US" sz="1800"/>
                <a:t>Optimal energy allocation</a:t>
              </a:r>
              <a:endParaRPr altLang="ru-RU" dirty="0" lang="ru-RU" sz="1800"/>
            </a:p>
          </p:txBody>
        </p:sp>
      </p:grpSp>
    </p:spTree>
    <p:extLst>
      <p:ext uri="{BB962C8B-B14F-4D97-AF65-F5344CB8AC3E}">
        <p14:creationId xmlns:p14="http://schemas.microsoft.com/office/powerpoint/2010/main" val="2948748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228635934287978"/>
  <p:tag name="LEFT" val="365.875"/>
  <p:tag name="TOP" val="80"/>
  <p:tag name="HEIGHT" val="82.5"/>
  <p:tag name="WIDTH" val="336.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228635934287978"/>
  <p:tag name="LEFT" val="9.375039"/>
  <p:tag name="TOP" val="80"/>
  <p:tag name="HEIGHT" val="82.5"/>
  <p:tag name="WIDTH" val="336.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228635934287978"/>
  <p:tag name="LEFT" val="365.875"/>
  <p:tag name="TOP" val="387.5"/>
  <p:tag name="HEIGHT" val="82.5"/>
  <p:tag name="WIDTH" val="336.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228635934287978"/>
  <p:tag name="LEFT" val="365.875"/>
  <p:tag name="TOP" val="182.5"/>
  <p:tag name="HEIGHT" val="82.5"/>
  <p:tag name="WIDTH" val="336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Rjlqp9MupGqMYRMiRA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228635934287978"/>
  <p:tag name="LEFT" val="365.875"/>
  <p:tag name="TOP" val="285"/>
  <p:tag name="HEIGHT" val="82.5"/>
  <p:tag name="WIDTH" val="336.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228635934287978"/>
  <p:tag name="LEFT" val="9.375039"/>
  <p:tag name="TOP" val="182.5"/>
  <p:tag name="HEIGHT" val="82.5"/>
  <p:tag name="WIDTH" val="336.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228635934287978"/>
  <p:tag name="LEFT" val="9.375039"/>
  <p:tag name="TOP" val="285"/>
  <p:tag name="HEIGHT" val="82.5"/>
  <p:tag name="WIDTH" val="336.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228635934287978"/>
  <p:tag name="LEFT" val="9.375039"/>
  <p:tag name="TOP" val="387.5"/>
  <p:tag name="HEIGHT" val="82.5"/>
  <p:tag name="WIDTH" val="336.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lastClr="000000" val="windowText"/>
      </a:dk1>
      <a:lt1>
        <a:sysClr lastClr="FFFFFF" val="window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algn="ctr" cap="flat" cmpd="sng" w="9525">
          <a:solidFill>
            <a:schemeClr val="phClr">
              <a:shade val="95000"/>
              <a:satMod val="105000"/>
            </a:schemeClr>
          </a:solidFill>
          <a:prstDash val="solid"/>
        </a:ln>
        <a:ln algn="ctr" cap="flat" cmpd="sng" w="25400">
          <a:solidFill>
            <a:schemeClr val="phClr"/>
          </a:solidFill>
          <a:prstDash val="solid"/>
        </a:ln>
        <a:ln algn="ctr" cap="flat" cmpd="sng" w="38100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r="5400000" dist="2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dir="t" rig="threePt">
              <a:rot lat="0" lon="0" rev="1200000"/>
            </a:lightRig>
          </a:scene3d>
          <a:sp3d>
            <a:bevelT h="25400" w="635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b="180000" l="50000" r="50000" t="-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b="50000" l="50000" r="50000" t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lastClr="000000" val="windowText"/>
      </a:dk1>
      <a:lt1>
        <a:sysClr lastClr="FFFFFF" val="window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algn="ctr" cap="flat" cmpd="sng" w="9525">
          <a:solidFill>
            <a:schemeClr val="phClr">
              <a:shade val="95000"/>
              <a:satMod val="105000"/>
            </a:schemeClr>
          </a:solidFill>
          <a:prstDash val="solid"/>
        </a:ln>
        <a:ln algn="ctr" cap="flat" cmpd="sng" w="25400">
          <a:solidFill>
            <a:schemeClr val="phClr"/>
          </a:solidFill>
          <a:prstDash val="solid"/>
        </a:ln>
        <a:ln algn="ctr" cap="flat" cmpd="sng" w="38100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r="5400000" dist="2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dir="t" rig="threePt">
              <a:rot lat="0" lon="0" rev="1200000"/>
            </a:lightRig>
          </a:scene3d>
          <a:sp3d>
            <a:bevelT h="25400" w="635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b="180000" l="50000" r="50000" t="-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b="50000" l="50000" r="50000" t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 Template (Microsoft)</Template>
  <Words>167</Words>
  <Paragraphs>36</Paragraphs>
  <Slides>2</Slides>
  <Notes>0</Notes>
  <TotalTime>65</TotalTime>
  <HiddenSlides>0</HiddenSlides>
  <MMClips>0</MMClips>
  <ScaleCrop>false</ScaleCrop>
  <HeadingPairs>
    <vt:vector baseType="variant" size="8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baseType="lpstr" size="7">
      <vt:lpstr>-apple-system</vt:lpstr>
      <vt:lpstr>Arial</vt:lpstr>
      <vt:lpstr>Calibri</vt:lpstr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lication>Microsoft Office PowerPoint</Application>
  <AppVersion>16.0000</AppVersion>
  <PresentationFormat>On-screen Show (4:3)</PresentationFormat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0-05-17T20:02:30Z</dcterms:created>
  <dc:creator>Vladimir Selivanov</dc:creator>
  <cp:lastModifiedBy>Vladimir Selivanov</cp:lastModifiedBy>
  <dcterms:modified xsi:type="dcterms:W3CDTF">2020-05-17T21:07:34Z</dcterms:modified>
  <cp:revision>7</cp:revision>
  <dc:title>PowerPoint Presentation</dc:title>
</cp:coreProperties>
</file>